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4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5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13"/>
  </p:notesMasterIdLst>
  <p:handoutMasterIdLst>
    <p:handoutMasterId r:id="rId14"/>
  </p:handoutMasterIdLst>
  <p:sldIdLst>
    <p:sldId id="315" r:id="rId5"/>
    <p:sldId id="2147470009" r:id="rId6"/>
    <p:sldId id="2147470019" r:id="rId7"/>
    <p:sldId id="2147470015" r:id="rId8"/>
    <p:sldId id="2147470020" r:id="rId9"/>
    <p:sldId id="2147470023" r:id="rId10"/>
    <p:sldId id="2147470025" r:id="rId11"/>
    <p:sldId id="313" r:id="rId12"/>
  </p:sldIdLst>
  <p:sldSz cx="12192000" cy="6858000"/>
  <p:notesSz cx="6858000" cy="9144000"/>
  <p:custDataLst>
    <p:tags r:id="rId15"/>
  </p:custDataLst>
  <p:defaultTextStyle>
    <a:defPPr>
      <a:defRPr lang="de-DE"/>
    </a:defPPr>
    <a:lvl1pPr marL="0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77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55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532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709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886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063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240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417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75756"/>
    <a:srgbClr val="D0D0D0"/>
    <a:srgbClr val="8094AF"/>
    <a:srgbClr val="BBD03A"/>
    <a:srgbClr val="0D3174"/>
    <a:srgbClr val="7F7F7F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108DA28-38DD-6553-DB68-56A93EDB42D8}" v="1" dt="2023-04-24T09:08:01.36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980" autoAdjust="0"/>
    <p:restoredTop sz="84378" autoAdjust="0"/>
  </p:normalViewPr>
  <p:slideViewPr>
    <p:cSldViewPr snapToGrid="0" snapToObjects="1" showGuides="1">
      <p:cViewPr varScale="1">
        <p:scale>
          <a:sx n="68" d="100"/>
          <a:sy n="68" d="100"/>
        </p:scale>
        <p:origin x="340" y="6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 showGuides="1">
      <p:cViewPr varScale="1">
        <p:scale>
          <a:sx n="87" d="100"/>
          <a:sy n="87" d="100"/>
        </p:scale>
        <p:origin x="3636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eorg Wasserloos" userId="S::georg.wasserloos@macils.de::ee35fb2f-40a5-45df-8d18-b6e8d5f17351" providerId="AD" clId="Web-{7108DA28-38DD-6553-DB68-56A93EDB42D8}"/>
    <pc:docChg chg="modSld">
      <pc:chgData name="Georg Wasserloos" userId="S::georg.wasserloos@macils.de::ee35fb2f-40a5-45df-8d18-b6e8d5f17351" providerId="AD" clId="Web-{7108DA28-38DD-6553-DB68-56A93EDB42D8}" dt="2023-04-24T09:08:01.369" v="0" actId="1076"/>
      <pc:docMkLst>
        <pc:docMk/>
      </pc:docMkLst>
      <pc:sldChg chg="modSp">
        <pc:chgData name="Georg Wasserloos" userId="S::georg.wasserloos@macils.de::ee35fb2f-40a5-45df-8d18-b6e8d5f17351" providerId="AD" clId="Web-{7108DA28-38DD-6553-DB68-56A93EDB42D8}" dt="2023-04-24T09:08:01.369" v="0" actId="1076"/>
        <pc:sldMkLst>
          <pc:docMk/>
          <pc:sldMk cId="3401271296" sldId="315"/>
        </pc:sldMkLst>
        <pc:picChg chg="mod">
          <ac:chgData name="Georg Wasserloos" userId="S::georg.wasserloos@macils.de::ee35fb2f-40a5-45df-8d18-b6e8d5f17351" providerId="AD" clId="Web-{7108DA28-38DD-6553-DB68-56A93EDB42D8}" dt="2023-04-24T09:08:01.369" v="0" actId="1076"/>
          <ac:picMkLst>
            <pc:docMk/>
            <pc:sldMk cId="3401271296" sldId="315"/>
            <ac:picMk id="6" creationId="{5B8B008E-E12C-FC32-1C0C-4462F111F59C}"/>
          </ac:picMkLst>
        </pc:pic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000012373575374"/>
          <c:y val="0.15930784363471515"/>
          <c:w val="0.68142778686230876"/>
          <c:h val="0.66168938687103529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explosion val="1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233-495C-B72F-9D8BFC2EE475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233-495C-B72F-9D8BFC2EE475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1233-495C-B72F-9D8BFC2EE475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1233-495C-B72F-9D8BFC2EE475}"/>
              </c:ext>
            </c:extLst>
          </c:dPt>
          <c:dLbls>
            <c:dLbl>
              <c:idx val="0"/>
              <c:layout>
                <c:manualLayout>
                  <c:x val="1.1173695492020947E-2"/>
                  <c:y val="-0.3403998645059713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5624927424221364"/>
                      <c:h val="0.17272300020379558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1233-495C-B72F-9D8BFC2EE475}"/>
                </c:ext>
              </c:extLst>
            </c:dLbl>
            <c:dLbl>
              <c:idx val="1"/>
              <c:layout>
                <c:manualLayout>
                  <c:x val="3.5941191251691845E-2"/>
                  <c:y val="-0.2857565368243841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7518736448555431"/>
                      <c:h val="0.17272300020379558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1233-495C-B72F-9D8BFC2EE475}"/>
                </c:ext>
              </c:extLst>
            </c:dLbl>
            <c:dLbl>
              <c:idx val="2"/>
              <c:layout>
                <c:manualLayout>
                  <c:x val="7.6350076049897755E-2"/>
                  <c:y val="0.18592396344988499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503677807326293"/>
                      <c:h val="0.14821438556554201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1233-495C-B72F-9D8BFC2EE475}"/>
                </c:ext>
              </c:extLst>
            </c:dLbl>
            <c:dLbl>
              <c:idx val="3"/>
              <c:layout>
                <c:manualLayout>
                  <c:x val="-0.38171837552087995"/>
                  <c:y val="0.22387869679883804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580020387844961"/>
                      <c:h val="0.14821438556554201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7-1233-495C-B72F-9D8BFC2EE475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Tabelle1!$A$2:$A$5</c:f>
              <c:strCache>
                <c:ptCount val="4"/>
                <c:pt idx="0">
                  <c:v>Produktnutzung</c:v>
                </c:pt>
                <c:pt idx="1">
                  <c:v>Eingekaufte Güter</c:v>
                </c:pt>
                <c:pt idx="2">
                  <c:v>Transporte</c:v>
                </c:pt>
                <c:pt idx="3">
                  <c:v>Geschäftsreisen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5677223</c:v>
                </c:pt>
                <c:pt idx="1">
                  <c:v>1552551</c:v>
                </c:pt>
                <c:pt idx="2">
                  <c:v>121749</c:v>
                </c:pt>
                <c:pt idx="3">
                  <c:v>370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1233-495C-B72F-9D8BFC2EE4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132"/>
        <c:holeSize val="6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000012373575374"/>
          <c:y val="0.15930784363471515"/>
          <c:w val="0.68142778686230876"/>
          <c:h val="0.66168938687103529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explosion val="1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38E-4280-AF29-7D15D5AA1626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38E-4280-AF29-7D15D5AA1626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438E-4280-AF29-7D15D5AA1626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438E-4280-AF29-7D15D5AA1626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438E-4280-AF29-7D15D5AA1626}"/>
              </c:ext>
            </c:extLst>
          </c:dPt>
          <c:dLbls>
            <c:dLbl>
              <c:idx val="0"/>
              <c:layout>
                <c:manualLayout>
                  <c:x val="-8.6872017254474958E-3"/>
                  <c:y val="-0.31566804517515101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438E-4280-AF29-7D15D5AA1626}"/>
                </c:ext>
              </c:extLst>
            </c:dLbl>
            <c:dLbl>
              <c:idx val="1"/>
              <c:layout>
                <c:manualLayout>
                  <c:x val="0.13382484879921069"/>
                  <c:y val="-9.2081512004528979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438E-4280-AF29-7D15D5AA1626}"/>
                </c:ext>
              </c:extLst>
            </c:dLbl>
            <c:dLbl>
              <c:idx val="2"/>
              <c:layout>
                <c:manualLayout>
                  <c:x val="8.5416099544462068E-2"/>
                  <c:y val="0.13603794572197939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503677807326293"/>
                      <c:h val="0.1482144017224897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438E-4280-AF29-7D15D5AA1626}"/>
                </c:ext>
              </c:extLst>
            </c:dLbl>
            <c:dLbl>
              <c:idx val="3"/>
              <c:layout>
                <c:manualLayout>
                  <c:x val="2.0208666071465965E-2"/>
                  <c:y val="0.1739834366405984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7942983516493974"/>
                      <c:h val="0.1482144017224897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4-438E-4280-AF29-7D15D5AA1626}"/>
                </c:ext>
              </c:extLst>
            </c:dLbl>
            <c:dLbl>
              <c:idx val="4"/>
              <c:layout>
                <c:manualLayout>
                  <c:x val="-0.24071030033522875"/>
                  <c:y val="0.13025310857591246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438E-4280-AF29-7D15D5AA1626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Tabelle1!$A$2:$A$6</c:f>
              <c:strCache>
                <c:ptCount val="5"/>
                <c:pt idx="0">
                  <c:v>Strom</c:v>
                </c:pt>
                <c:pt idx="1">
                  <c:v>Erdgas, Heizöl</c:v>
                </c:pt>
                <c:pt idx="2">
                  <c:v>Kraftstoffe</c:v>
                </c:pt>
                <c:pt idx="3">
                  <c:v>Fernwärme</c:v>
                </c:pt>
                <c:pt idx="4">
                  <c:v>F-Gase</c:v>
                </c:pt>
              </c:strCache>
            </c:str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25527</c:v>
                </c:pt>
                <c:pt idx="1">
                  <c:v>12557</c:v>
                </c:pt>
                <c:pt idx="2">
                  <c:v>9220</c:v>
                </c:pt>
                <c:pt idx="3">
                  <c:v>1775</c:v>
                </c:pt>
                <c:pt idx="4">
                  <c:v>14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38E-4280-AF29-7D15D5AA162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180"/>
        <c:holeSize val="6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765675321098811"/>
          <c:y val="0.21619302322799139"/>
          <c:w val="0.78612648501028892"/>
          <c:h val="0.66681780106346977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ln w="3175"/>
          </c:spPr>
          <c:dPt>
            <c:idx val="0"/>
            <c:bubble3D val="0"/>
            <c:spPr>
              <a:solidFill>
                <a:schemeClr val="accent1"/>
              </a:solidFill>
              <a:ln w="3175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BF3-490D-9E9C-9FD9E22D560F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3175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BF3-490D-9E9C-9FD9E22D560F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3175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ABF3-490D-9E9C-9FD9E22D560F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3175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ABF3-490D-9E9C-9FD9E22D560F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3175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ABF3-490D-9E9C-9FD9E22D560F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3175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ABF3-490D-9E9C-9FD9E22D560F}"/>
              </c:ext>
            </c:extLst>
          </c:dPt>
          <c:dLbls>
            <c:dLbl>
              <c:idx val="0"/>
              <c:layout>
                <c:manualLayout>
                  <c:x val="-0.21265134578459796"/>
                  <c:y val="-0.20256030860616436"/>
                </c:manualLayout>
              </c:layout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showLegendKey val="0"/>
              <c:showVal val="0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39346987523236149"/>
                      <c:h val="0.11064619485022385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ABF3-490D-9E9C-9FD9E22D560F}"/>
                </c:ext>
              </c:extLst>
            </c:dLbl>
            <c:dLbl>
              <c:idx val="1"/>
              <c:layout>
                <c:manualLayout>
                  <c:x val="0.23043118846721683"/>
                  <c:y val="-0.20243154696666979"/>
                </c:manualLayout>
              </c:layout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showLegendKey val="0"/>
              <c:showVal val="0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38982237249757118"/>
                      <c:h val="0.11115860534314166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ABF3-490D-9E9C-9FD9E22D560F}"/>
                </c:ext>
              </c:extLst>
            </c:dLbl>
            <c:dLbl>
              <c:idx val="2"/>
              <c:layout>
                <c:manualLayout>
                  <c:x val="7.1369183311276521E-2"/>
                  <c:y val="-0.13712871277090385"/>
                </c:manualLayout>
              </c:layout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noAutofit/>
                </a:bodyPr>
                <a:lstStyle/>
                <a:p>
                  <a:pPr algn="r">
                    <a:defRPr sz="11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showLegendKey val="0"/>
              <c:showVal val="0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28748503515066209"/>
                      <c:h val="0.17994165374149895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ABF3-490D-9E9C-9FD9E22D560F}"/>
                </c:ext>
              </c:extLst>
            </c:dLbl>
            <c:dLbl>
              <c:idx val="3"/>
              <c:layout>
                <c:manualLayout>
                  <c:x val="-0.10912219923043381"/>
                  <c:y val="0.12131698621520461"/>
                </c:manualLayout>
              </c:layout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noAutofit/>
                </a:bodyPr>
                <a:lstStyle/>
                <a:p>
                  <a:pPr algn="l">
                    <a:defRPr sz="11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showLegendKey val="0"/>
              <c:showVal val="0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3771775529172372"/>
                      <c:h val="0.13187544065376036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7-ABF3-490D-9E9C-9FD9E22D560F}"/>
                </c:ext>
              </c:extLst>
            </c:dLbl>
            <c:dLbl>
              <c:idx val="4"/>
              <c:layout>
                <c:manualLayout>
                  <c:x val="-0.16891083627211739"/>
                  <c:y val="-8.5551666571024823E-2"/>
                </c:manualLayout>
              </c:layout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showLegendKey val="0"/>
              <c:showVal val="0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2992737984134391"/>
                      <c:h val="7.7114230635009828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9-ABF3-490D-9E9C-9FD9E22D560F}"/>
                </c:ext>
              </c:extLst>
            </c:dLbl>
            <c:dLbl>
              <c:idx val="5"/>
              <c:layout>
                <c:manualLayout>
                  <c:x val="-0.29220779220779219"/>
                  <c:y val="3.0399820473501142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ABF3-490D-9E9C-9FD9E22D560F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0"/>
            <c:showCatName val="1"/>
            <c:showSerName val="0"/>
            <c:showPercent val="0"/>
            <c:showBubbleSize val="0"/>
            <c:separator>
</c:separator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Tabelle1!$A$2:$A$9</c:f>
              <c:strCache>
                <c:ptCount val="5"/>
                <c:pt idx="0">
                  <c:v>Direkte Emissionen (Scope 1)</c:v>
                </c:pt>
                <c:pt idx="1">
                  <c:v>Indirekte Emissionen aus Energiebezug (Scope 2)</c:v>
                </c:pt>
                <c:pt idx="2">
                  <c:v>Indirekte Emissionen Gekaufte Güter (Scope 3.1)</c:v>
                </c:pt>
                <c:pt idx="3">
                  <c:v>Indirekte Emissionen Produktnutzung beim Kunden (Scope 3.11)</c:v>
                </c:pt>
                <c:pt idx="4">
                  <c:v>Sonstige Scope 3</c:v>
                </c:pt>
              </c:strCache>
            </c:strRef>
          </c:cat>
          <c:val>
            <c:numRef>
              <c:f>Tabelle1!$B$2:$B$7</c:f>
              <c:numCache>
                <c:formatCode>General</c:formatCode>
                <c:ptCount val="6"/>
                <c:pt idx="0">
                  <c:v>23257</c:v>
                </c:pt>
                <c:pt idx="1">
                  <c:v>27301</c:v>
                </c:pt>
                <c:pt idx="2">
                  <c:v>1552551</c:v>
                </c:pt>
                <c:pt idx="3">
                  <c:v>5677223</c:v>
                </c:pt>
                <c:pt idx="4">
                  <c:v>1588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ABF3-490D-9E9C-9FD9E22D560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09B052E-8179-4C03-BA36-1E8478172712}" type="doc">
      <dgm:prSet loTypeId="urn:microsoft.com/office/officeart/2005/8/layout/venn2" loCatId="relationship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de-DE"/>
        </a:p>
      </dgm:t>
    </dgm:pt>
    <dgm:pt modelId="{202F45DC-0BB5-44F2-B22E-9B2AB6E09B65}">
      <dgm:prSet phldrT="[Text]" custT="1"/>
      <dgm:spPr>
        <a:solidFill>
          <a:schemeClr val="accent4"/>
        </a:solidFill>
        <a:ln>
          <a:solidFill>
            <a:schemeClr val="accent4"/>
          </a:solidFill>
        </a:ln>
      </dgm:spPr>
      <dgm:t>
        <a:bodyPr vert="horz" anchor="b"/>
        <a:lstStyle/>
        <a:p>
          <a:endParaRPr lang="de-DE" sz="1100" dirty="0"/>
        </a:p>
      </dgm:t>
    </dgm:pt>
    <dgm:pt modelId="{41EA4D8B-8BD6-4C51-BADC-D2AFB0A0FE04}" type="parTrans" cxnId="{CE826314-42A4-4E41-812D-AF43DB380DB0}">
      <dgm:prSet/>
      <dgm:spPr/>
      <dgm:t>
        <a:bodyPr/>
        <a:lstStyle/>
        <a:p>
          <a:endParaRPr lang="de-DE"/>
        </a:p>
      </dgm:t>
    </dgm:pt>
    <dgm:pt modelId="{33D46789-D2BB-44CD-B8FC-2647DB7DB2B9}" type="sibTrans" cxnId="{CE826314-42A4-4E41-812D-AF43DB380DB0}">
      <dgm:prSet/>
      <dgm:spPr/>
      <dgm:t>
        <a:bodyPr/>
        <a:lstStyle/>
        <a:p>
          <a:endParaRPr lang="de-DE"/>
        </a:p>
      </dgm:t>
    </dgm:pt>
    <dgm:pt modelId="{3FE5323A-A7C1-40EA-A3E1-B5681EBAB4AD}">
      <dgm:prSet phldrT="[Text]" custT="1"/>
      <dgm:spPr>
        <a:solidFill>
          <a:schemeClr val="accent2"/>
        </a:solidFill>
        <a:ln>
          <a:solidFill>
            <a:schemeClr val="accent2"/>
          </a:solidFill>
        </a:ln>
      </dgm:spPr>
      <dgm:t>
        <a:bodyPr/>
        <a:lstStyle/>
        <a:p>
          <a:endParaRPr lang="de-DE" sz="2400" dirty="0"/>
        </a:p>
      </dgm:t>
    </dgm:pt>
    <dgm:pt modelId="{7A3E449B-BF03-466A-8FD8-A7EE9A057B1D}" type="parTrans" cxnId="{0ED05A86-7E6D-4E83-BA47-A7C29A723DBF}">
      <dgm:prSet/>
      <dgm:spPr/>
      <dgm:t>
        <a:bodyPr/>
        <a:lstStyle/>
        <a:p>
          <a:endParaRPr lang="de-DE"/>
        </a:p>
      </dgm:t>
    </dgm:pt>
    <dgm:pt modelId="{94FBC8BB-89A7-4713-B574-DC234D99A3A3}" type="sibTrans" cxnId="{0ED05A86-7E6D-4E83-BA47-A7C29A723DBF}">
      <dgm:prSet/>
      <dgm:spPr/>
      <dgm:t>
        <a:bodyPr/>
        <a:lstStyle/>
        <a:p>
          <a:endParaRPr lang="de-DE"/>
        </a:p>
      </dgm:t>
    </dgm:pt>
    <dgm:pt modelId="{356F03F1-CD20-48BB-91B6-B04B37EC9CDD}">
      <dgm:prSet custT="1"/>
      <dgm:spPr>
        <a:solidFill>
          <a:schemeClr val="bg2">
            <a:lumMod val="95000"/>
          </a:schemeClr>
        </a:solidFill>
        <a:ln>
          <a:solidFill>
            <a:schemeClr val="bg2">
              <a:lumMod val="95000"/>
            </a:schemeClr>
          </a:solidFill>
        </a:ln>
      </dgm:spPr>
      <dgm:t>
        <a:bodyPr/>
        <a:lstStyle/>
        <a:p>
          <a:endParaRPr lang="de-DE" dirty="0"/>
        </a:p>
      </dgm:t>
    </dgm:pt>
    <dgm:pt modelId="{8D7B57DF-7A0C-4912-8419-92E8F659E339}" type="parTrans" cxnId="{7562AE75-B653-4F10-B163-9AFC921BC8E3}">
      <dgm:prSet/>
      <dgm:spPr/>
      <dgm:t>
        <a:bodyPr/>
        <a:lstStyle/>
        <a:p>
          <a:endParaRPr lang="de-DE"/>
        </a:p>
      </dgm:t>
    </dgm:pt>
    <dgm:pt modelId="{01C7FC30-0D85-460D-8C25-980924FB60F8}" type="sibTrans" cxnId="{7562AE75-B653-4F10-B163-9AFC921BC8E3}">
      <dgm:prSet/>
      <dgm:spPr/>
      <dgm:t>
        <a:bodyPr/>
        <a:lstStyle/>
        <a:p>
          <a:endParaRPr lang="de-DE"/>
        </a:p>
      </dgm:t>
    </dgm:pt>
    <dgm:pt modelId="{8A58C913-CD6C-4F1E-9E4E-8F09F4BC8465}" type="pres">
      <dgm:prSet presAssocID="{509B052E-8179-4C03-BA36-1E8478172712}" presName="Name0" presStyleCnt="0">
        <dgm:presLayoutVars>
          <dgm:chMax val="7"/>
          <dgm:resizeHandles val="exact"/>
        </dgm:presLayoutVars>
      </dgm:prSet>
      <dgm:spPr/>
    </dgm:pt>
    <dgm:pt modelId="{88BB5A44-F643-4435-9359-7463A70D535D}" type="pres">
      <dgm:prSet presAssocID="{509B052E-8179-4C03-BA36-1E8478172712}" presName="comp1" presStyleCnt="0"/>
      <dgm:spPr/>
    </dgm:pt>
    <dgm:pt modelId="{39C4FB15-84E8-42D8-81AE-283993B8FF81}" type="pres">
      <dgm:prSet presAssocID="{509B052E-8179-4C03-BA36-1E8478172712}" presName="circle1" presStyleLbl="node1" presStyleIdx="0" presStyleCnt="3" custLinFactNeighborX="1476" custLinFactNeighborY="10870"/>
      <dgm:spPr/>
    </dgm:pt>
    <dgm:pt modelId="{983C64A3-6B89-4FAF-9711-846D0E1BF228}" type="pres">
      <dgm:prSet presAssocID="{509B052E-8179-4C03-BA36-1E8478172712}" presName="c1text" presStyleLbl="node1" presStyleIdx="0" presStyleCnt="3">
        <dgm:presLayoutVars>
          <dgm:bulletEnabled val="1"/>
        </dgm:presLayoutVars>
      </dgm:prSet>
      <dgm:spPr/>
    </dgm:pt>
    <dgm:pt modelId="{E16BF6DB-F605-4726-B1E5-A3C85E15B372}" type="pres">
      <dgm:prSet presAssocID="{509B052E-8179-4C03-BA36-1E8478172712}" presName="comp2" presStyleCnt="0"/>
      <dgm:spPr/>
    </dgm:pt>
    <dgm:pt modelId="{AFF0837E-D540-49DC-8659-729B738445FD}" type="pres">
      <dgm:prSet presAssocID="{509B052E-8179-4C03-BA36-1E8478172712}" presName="circle2" presStyleLbl="node1" presStyleIdx="1" presStyleCnt="3" custScaleX="89387" custScaleY="89387" custLinFactNeighborX="-146" custLinFactNeighborY="-32348"/>
      <dgm:spPr/>
    </dgm:pt>
    <dgm:pt modelId="{331115D5-BA21-467B-93C9-A6971590A09F}" type="pres">
      <dgm:prSet presAssocID="{509B052E-8179-4C03-BA36-1E8478172712}" presName="c2text" presStyleLbl="node1" presStyleIdx="1" presStyleCnt="3">
        <dgm:presLayoutVars>
          <dgm:bulletEnabled val="1"/>
        </dgm:presLayoutVars>
      </dgm:prSet>
      <dgm:spPr/>
    </dgm:pt>
    <dgm:pt modelId="{6E9F0DFC-17A4-4599-B1FC-6D3AF0E7B75D}" type="pres">
      <dgm:prSet presAssocID="{509B052E-8179-4C03-BA36-1E8478172712}" presName="comp3" presStyleCnt="0"/>
      <dgm:spPr/>
    </dgm:pt>
    <dgm:pt modelId="{5097C3AD-54B2-4ABA-8C84-6FDDCB08808B}" type="pres">
      <dgm:prSet presAssocID="{509B052E-8179-4C03-BA36-1E8478172712}" presName="circle3" presStyleLbl="node1" presStyleIdx="2" presStyleCnt="3" custScaleX="75339" custScaleY="73447" custLinFactNeighborX="-1445" custLinFactNeighborY="-97418"/>
      <dgm:spPr/>
    </dgm:pt>
    <dgm:pt modelId="{A38D5F92-D628-4E57-A8BF-654E5625EFCB}" type="pres">
      <dgm:prSet presAssocID="{509B052E-8179-4C03-BA36-1E8478172712}" presName="c3text" presStyleLbl="node1" presStyleIdx="2" presStyleCnt="3">
        <dgm:presLayoutVars>
          <dgm:bulletEnabled val="1"/>
        </dgm:presLayoutVars>
      </dgm:prSet>
      <dgm:spPr/>
    </dgm:pt>
  </dgm:ptLst>
  <dgm:cxnLst>
    <dgm:cxn modelId="{CE826314-42A4-4E41-812D-AF43DB380DB0}" srcId="{509B052E-8179-4C03-BA36-1E8478172712}" destId="{202F45DC-0BB5-44F2-B22E-9B2AB6E09B65}" srcOrd="0" destOrd="0" parTransId="{41EA4D8B-8BD6-4C51-BADC-D2AFB0A0FE04}" sibTransId="{33D46789-D2BB-44CD-B8FC-2647DB7DB2B9}"/>
    <dgm:cxn modelId="{2A061E44-7542-416E-A99E-A98BD636CEA6}" type="presOf" srcId="{356F03F1-CD20-48BB-91B6-B04B37EC9CDD}" destId="{AFF0837E-D540-49DC-8659-729B738445FD}" srcOrd="0" destOrd="0" presId="urn:microsoft.com/office/officeart/2005/8/layout/venn2"/>
    <dgm:cxn modelId="{FE4A5864-D53C-4EDD-B2F7-24BB851C9885}" type="presOf" srcId="{3FE5323A-A7C1-40EA-A3E1-B5681EBAB4AD}" destId="{A38D5F92-D628-4E57-A8BF-654E5625EFCB}" srcOrd="1" destOrd="0" presId="urn:microsoft.com/office/officeart/2005/8/layout/venn2"/>
    <dgm:cxn modelId="{F28EDB68-2695-4832-8D49-6DA0B944EB20}" type="presOf" srcId="{3FE5323A-A7C1-40EA-A3E1-B5681EBAB4AD}" destId="{5097C3AD-54B2-4ABA-8C84-6FDDCB08808B}" srcOrd="0" destOrd="0" presId="urn:microsoft.com/office/officeart/2005/8/layout/venn2"/>
    <dgm:cxn modelId="{9BAD3A6F-84A0-43AD-AF41-2B1029C69AFC}" type="presOf" srcId="{509B052E-8179-4C03-BA36-1E8478172712}" destId="{8A58C913-CD6C-4F1E-9E4E-8F09F4BC8465}" srcOrd="0" destOrd="0" presId="urn:microsoft.com/office/officeart/2005/8/layout/venn2"/>
    <dgm:cxn modelId="{7562AE75-B653-4F10-B163-9AFC921BC8E3}" srcId="{509B052E-8179-4C03-BA36-1E8478172712}" destId="{356F03F1-CD20-48BB-91B6-B04B37EC9CDD}" srcOrd="1" destOrd="0" parTransId="{8D7B57DF-7A0C-4912-8419-92E8F659E339}" sibTransId="{01C7FC30-0D85-460D-8C25-980924FB60F8}"/>
    <dgm:cxn modelId="{4D99A856-BE38-4DE7-974A-A98AC849E92C}" type="presOf" srcId="{202F45DC-0BB5-44F2-B22E-9B2AB6E09B65}" destId="{39C4FB15-84E8-42D8-81AE-283993B8FF81}" srcOrd="0" destOrd="0" presId="urn:microsoft.com/office/officeart/2005/8/layout/venn2"/>
    <dgm:cxn modelId="{16E6897F-F643-4A45-A6CE-DDE1C67AD32E}" type="presOf" srcId="{356F03F1-CD20-48BB-91B6-B04B37EC9CDD}" destId="{331115D5-BA21-467B-93C9-A6971590A09F}" srcOrd="1" destOrd="0" presId="urn:microsoft.com/office/officeart/2005/8/layout/venn2"/>
    <dgm:cxn modelId="{0ED05A86-7E6D-4E83-BA47-A7C29A723DBF}" srcId="{509B052E-8179-4C03-BA36-1E8478172712}" destId="{3FE5323A-A7C1-40EA-A3E1-B5681EBAB4AD}" srcOrd="2" destOrd="0" parTransId="{7A3E449B-BF03-466A-8FD8-A7EE9A057B1D}" sibTransId="{94FBC8BB-89A7-4713-B574-DC234D99A3A3}"/>
    <dgm:cxn modelId="{447405E4-6816-4D69-B541-A5DA2941ECB8}" type="presOf" srcId="{202F45DC-0BB5-44F2-B22E-9B2AB6E09B65}" destId="{983C64A3-6B89-4FAF-9711-846D0E1BF228}" srcOrd="1" destOrd="0" presId="urn:microsoft.com/office/officeart/2005/8/layout/venn2"/>
    <dgm:cxn modelId="{942D602B-1AB6-4A6D-A139-B00D8E68AF92}" type="presParOf" srcId="{8A58C913-CD6C-4F1E-9E4E-8F09F4BC8465}" destId="{88BB5A44-F643-4435-9359-7463A70D535D}" srcOrd="0" destOrd="0" presId="urn:microsoft.com/office/officeart/2005/8/layout/venn2"/>
    <dgm:cxn modelId="{5FCC661F-99AA-4AB9-8DE5-D56B300B59A8}" type="presParOf" srcId="{88BB5A44-F643-4435-9359-7463A70D535D}" destId="{39C4FB15-84E8-42D8-81AE-283993B8FF81}" srcOrd="0" destOrd="0" presId="urn:microsoft.com/office/officeart/2005/8/layout/venn2"/>
    <dgm:cxn modelId="{81689FA5-80AF-4201-B329-3779A24F4A4B}" type="presParOf" srcId="{88BB5A44-F643-4435-9359-7463A70D535D}" destId="{983C64A3-6B89-4FAF-9711-846D0E1BF228}" srcOrd="1" destOrd="0" presId="urn:microsoft.com/office/officeart/2005/8/layout/venn2"/>
    <dgm:cxn modelId="{1F57820A-D282-4458-B598-737D44D13A22}" type="presParOf" srcId="{8A58C913-CD6C-4F1E-9E4E-8F09F4BC8465}" destId="{E16BF6DB-F605-4726-B1E5-A3C85E15B372}" srcOrd="1" destOrd="0" presId="urn:microsoft.com/office/officeart/2005/8/layout/venn2"/>
    <dgm:cxn modelId="{687DBC5F-9747-4832-8941-E24FFB8D1F98}" type="presParOf" srcId="{E16BF6DB-F605-4726-B1E5-A3C85E15B372}" destId="{AFF0837E-D540-49DC-8659-729B738445FD}" srcOrd="0" destOrd="0" presId="urn:microsoft.com/office/officeart/2005/8/layout/venn2"/>
    <dgm:cxn modelId="{784DFF37-49E3-4F82-869D-60B819A280FC}" type="presParOf" srcId="{E16BF6DB-F605-4726-B1E5-A3C85E15B372}" destId="{331115D5-BA21-467B-93C9-A6971590A09F}" srcOrd="1" destOrd="0" presId="urn:microsoft.com/office/officeart/2005/8/layout/venn2"/>
    <dgm:cxn modelId="{D810BD22-2D3F-4B26-984E-50E45EB6E129}" type="presParOf" srcId="{8A58C913-CD6C-4F1E-9E4E-8F09F4BC8465}" destId="{6E9F0DFC-17A4-4599-B1FC-6D3AF0E7B75D}" srcOrd="2" destOrd="0" presId="urn:microsoft.com/office/officeart/2005/8/layout/venn2"/>
    <dgm:cxn modelId="{6CCD8B5F-F44D-4AD2-8521-D2315D60A9CF}" type="presParOf" srcId="{6E9F0DFC-17A4-4599-B1FC-6D3AF0E7B75D}" destId="{5097C3AD-54B2-4ABA-8C84-6FDDCB08808B}" srcOrd="0" destOrd="0" presId="urn:microsoft.com/office/officeart/2005/8/layout/venn2"/>
    <dgm:cxn modelId="{1E601B68-D02D-4BC4-A7DE-5B19A436A7B7}" type="presParOf" srcId="{6E9F0DFC-17A4-4599-B1FC-6D3AF0E7B75D}" destId="{A38D5F92-D628-4E57-A8BF-654E5625EFCB}" srcOrd="1" destOrd="0" presId="urn:microsoft.com/office/officeart/2005/8/layout/venn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9C4FB15-84E8-42D8-81AE-283993B8FF81}">
      <dsp:nvSpPr>
        <dsp:cNvPr id="0" name=""/>
        <dsp:cNvSpPr/>
      </dsp:nvSpPr>
      <dsp:spPr>
        <a:xfrm>
          <a:off x="1006036" y="0"/>
          <a:ext cx="3791534" cy="3791534"/>
        </a:xfrm>
        <a:prstGeom prst="ellipse">
          <a:avLst/>
        </a:prstGeom>
        <a:solidFill>
          <a:schemeClr val="accent4"/>
        </a:solidFill>
        <a:ln w="12700" cap="flat" cmpd="sng" algn="ctr">
          <a:solidFill>
            <a:schemeClr val="accent4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8232" tIns="78232" rIns="78232" bIns="78232" numCol="1" spcCol="1270" anchor="b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100" kern="1200" dirty="0"/>
        </a:p>
      </dsp:txBody>
      <dsp:txXfrm>
        <a:off x="2239232" y="189576"/>
        <a:ext cx="1325141" cy="568730"/>
      </dsp:txXfrm>
    </dsp:sp>
    <dsp:sp modelId="{AFF0837E-D540-49DC-8659-729B738445FD}">
      <dsp:nvSpPr>
        <dsp:cNvPr id="0" name=""/>
        <dsp:cNvSpPr/>
      </dsp:nvSpPr>
      <dsp:spPr>
        <a:xfrm>
          <a:off x="1570761" y="178917"/>
          <a:ext cx="2541853" cy="2541853"/>
        </a:xfrm>
        <a:prstGeom prst="ellipse">
          <a:avLst/>
        </a:prstGeom>
        <a:solidFill>
          <a:schemeClr val="bg2">
            <a:lumMod val="95000"/>
          </a:schemeClr>
        </a:solidFill>
        <a:ln w="12700" cap="flat" cmpd="sng" algn="ctr">
          <a:solidFill>
            <a:schemeClr val="bg2">
              <a:lumMod val="95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6032" tIns="256032" rIns="256032" bIns="256032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3600" kern="1200" dirty="0"/>
        </a:p>
      </dsp:txBody>
      <dsp:txXfrm>
        <a:off x="2249436" y="337783"/>
        <a:ext cx="1184503" cy="476597"/>
      </dsp:txXfrm>
    </dsp:sp>
    <dsp:sp modelId="{5097C3AD-54B2-4ABA-8C84-6FDDCB08808B}">
      <dsp:nvSpPr>
        <dsp:cNvPr id="0" name=""/>
        <dsp:cNvSpPr/>
      </dsp:nvSpPr>
      <dsp:spPr>
        <a:xfrm>
          <a:off x="2104320" y="300640"/>
          <a:ext cx="1428251" cy="1392383"/>
        </a:xfrm>
        <a:prstGeom prst="ellipse">
          <a:avLst/>
        </a:prstGeom>
        <a:solidFill>
          <a:schemeClr val="accent2"/>
        </a:solidFill>
        <a:ln w="12700" cap="flat" cmpd="sng" algn="ctr">
          <a:solidFill>
            <a:schemeClr val="accent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2400" kern="1200" dirty="0"/>
        </a:p>
      </dsp:txBody>
      <dsp:txXfrm>
        <a:off x="2313483" y="648736"/>
        <a:ext cx="1009926" cy="69619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enn2">
  <dgm:title val=""/>
  <dgm:desc val=""/>
  <dgm:catLst>
    <dgm:cat type="relationship" pri="3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1">
      <dgm:if name="Name2" axis="ch" ptType="node" func="cnt" op="lte" val="3">
        <dgm:constrLst>
          <dgm:constr type="w" for="ch" forName="comp1" refType="w"/>
          <dgm:constr type="h" for="ch" forName="comp1" refType="w" refFor="ch" refForName="comp1"/>
          <dgm:constr type="w" for="ch" forName="comp2" refType="w" fact="0.75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5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primFontSz" for="des" ptType="node" op="equ" val="65"/>
        </dgm:constrLst>
      </dgm:if>
      <dgm:if name="Name3" axis="ch" ptType="node" func="cnt" op="equ" val="4">
        <dgm:constrLst>
          <dgm:constr type="w" for="ch" forName="comp1" refType="w"/>
          <dgm:constr type="h" for="ch" forName="comp1" refType="w" refFor="ch" refForName="comp1"/>
          <dgm:constr type="w" for="ch" forName="comp2" refType="w" fact="0.8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6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w" for="ch" forName="comp4" refType="w" fact="0.4"/>
          <dgm:constr type="h" for="ch" forName="comp4" refType="w" refFor="ch" refForName="comp4"/>
          <dgm:constr type="ctrX" for="ch" forName="comp4" refType="ctrX" refFor="ch" refForName="comp1"/>
          <dgm:constr type="b" for="ch" forName="comp4" refType="b" refFor="ch" refForName="comp1"/>
          <dgm:constr type="primFontSz" for="des" ptType="node" op="equ" val="65"/>
        </dgm:constrLst>
      </dgm:if>
      <dgm:else name="Name4">
        <dgm:constrLst>
          <dgm:constr type="w" for="ch" forName="comp1" refType="w"/>
          <dgm:constr type="h" for="ch" forName="comp1" refType="w" refFor="ch" refForName="comp1"/>
          <dgm:constr type="w" for="ch" forName="comp2" refType="w" fact="0.85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7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w" for="ch" forName="comp4" refType="w" fact="0.55"/>
          <dgm:constr type="h" for="ch" forName="comp4" refType="w" refFor="ch" refForName="comp4"/>
          <dgm:constr type="ctrX" for="ch" forName="comp4" refType="ctrX" refFor="ch" refForName="comp1"/>
          <dgm:constr type="b" for="ch" forName="comp4" refType="b" refFor="ch" refForName="comp1"/>
          <dgm:constr type="w" for="ch" forName="comp5" refType="w" fact="0.4"/>
          <dgm:constr type="h" for="ch" forName="comp5" refType="w" refFor="ch" refForName="comp5"/>
          <dgm:constr type="ctrX" for="ch" forName="comp5" refType="ctrX" refFor="ch" refForName="comp1"/>
          <dgm:constr type="b" for="ch" forName="comp5" refType="b" refFor="ch" refForName="comp1"/>
          <dgm:constr type="w" for="ch" forName="comp6" refType="w" fact="0.25"/>
          <dgm:constr type="h" for="ch" forName="comp6" refType="w" refFor="ch" refForName="comp6"/>
          <dgm:constr type="ctrX" for="ch" forName="comp6" refType="ctrX" refFor="ch" refForName="comp1"/>
          <dgm:constr type="b" for="ch" forName="comp6" refType="b" refFor="ch" refForName="comp1"/>
          <dgm:constr type="w" for="ch" forName="comp7" refType="w" fact="0.15"/>
          <dgm:constr type="h" for="ch" forName="comp7" refType="w" refFor="ch" refForName="comp7"/>
          <dgm:constr type="ctrX" for="ch" forName="comp7" refType="ctrX" refFor="ch" refForName="comp1"/>
          <dgm:constr type="b" for="ch" forName="comp7" refType="b" refFor="ch" refForName="comp1"/>
          <dgm:constr type="primFontSz" for="des" ptType="node" op="equ" val="65"/>
        </dgm:constrLst>
      </dgm:else>
    </dgm:choose>
    <dgm:ruleLst/>
    <dgm:choose name="Name5">
      <dgm:if name="Name6" axis="ch" ptType="node" func="cnt" op="gte" val="1">
        <dgm:layoutNode name="comp1">
          <dgm:alg type="composite"/>
          <dgm:shape xmlns:r="http://schemas.openxmlformats.org/officeDocument/2006/relationships" r:blip="">
            <dgm:adjLst/>
          </dgm:shape>
          <dgm:presOf/>
          <dgm:choose name="Name7">
            <dgm:if name="Name8" axis="ch" ptType="node" func="cnt" op="equ" val="1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5"/>
                <dgm:constr type="w" for="ch" forName="c1text" refType="w" refFor="ch" refForName="circle1" fact="0.70711"/>
                <dgm:constr type="h" for="ch" forName="c1text" refType="h" refFor="ch" refForName="circle1" fact="0.5"/>
              </dgm:constrLst>
            </dgm:if>
            <dgm:if name="Name9" axis="ch" ptType="node" func="cnt" op="equ" val="2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6"/>
                <dgm:constr type="w" for="ch" forName="c1text" refType="w" refFor="ch" refForName="circle1" fact="0.525"/>
                <dgm:constr type="h" for="ch" forName="c1text" refType="h" refFor="ch" refForName="circle1" fact="0.17"/>
              </dgm:constrLst>
            </dgm:if>
            <dgm:if name="Name10" axis="ch" ptType="node" func="cnt" op="equ" val="3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25"/>
                <dgm:constr type="w" for="ch" forName="c1text" refType="w" refFor="ch" refForName="circle1" fact="0.3495"/>
                <dgm:constr type="h" for="ch" forName="c1text" refType="h" refFor="ch" refForName="circle1" fact="0.15"/>
              </dgm:constrLst>
            </dgm:if>
            <dgm:if name="Name11" axis="ch" ptType="node" func="cnt" op="equ" val="4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25"/>
                <dgm:constr type="w" for="ch" forName="c1text" refType="w" refFor="ch" refForName="circle1" fact="0.2796"/>
                <dgm:constr type="h" for="ch" forName="c1text" refType="h" refFor="ch" refForName="circle1" fact="0.15"/>
              </dgm:constrLst>
            </dgm:if>
            <dgm:if name="Name12" axis="ch" ptType="node" func="cnt" op="gte" val="5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"/>
                <dgm:constr type="w" for="ch" forName="c1text" refType="w" refFor="ch" refForName="circle1" fact="0.375"/>
                <dgm:constr type="h" for="ch" forName="c1text" refType="h" refFor="ch" refForName="circle1" fact="0.1"/>
              </dgm:constrLst>
            </dgm:if>
            <dgm:else name="Name13"/>
          </dgm:choose>
          <dgm:ruleLst/>
          <dgm:layoutNode name="circle1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1 1" cnt="1 0"/>
            <dgm:constrLst>
              <dgm:constr type="h" refType="w"/>
            </dgm:constrLst>
            <dgm:ruleLst/>
          </dgm:layoutNode>
          <dgm:layoutNode name="c1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1 1" cnt="1 0"/>
            <dgm:constrLst/>
            <dgm:ruleLst>
              <dgm:rule type="primFontSz" val="5" fact="NaN" max="NaN"/>
            </dgm:ruleLst>
          </dgm:layoutNode>
        </dgm:layoutNode>
      </dgm:if>
      <dgm:else name="Name14"/>
    </dgm:choose>
    <dgm:choose name="Name15">
      <dgm:if name="Name16" axis="ch" ptType="node" func="cnt" op="gte" val="2">
        <dgm:layoutNode name="comp2">
          <dgm:alg type="composite"/>
          <dgm:shape xmlns:r="http://schemas.openxmlformats.org/officeDocument/2006/relationships" r:blip="">
            <dgm:adjLst/>
          </dgm:shape>
          <dgm:presOf/>
          <dgm:choose name="Name17">
            <dgm:if name="Name18" axis="ch" ptType="node" func="cnt" op="equ" val="2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5"/>
                <dgm:constr type="w" for="ch" forName="c2text" refType="w" refFor="ch" refForName="circle2" fact="0.70711"/>
                <dgm:constr type="h" for="ch" forName="c2text" refType="h" refFor="ch" refForName="circle2" fact="0.5"/>
              </dgm:constrLst>
            </dgm:if>
            <dgm:if name="Name19" axis="ch" ptType="node" func="cnt" op="equ" val="3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5625"/>
                <dgm:constr type="w" for="ch" forName="c2text" refType="w" refFor="ch" refForName="circle2" fact="0.466"/>
                <dgm:constr type="h" for="ch" forName="c2text" refType="h" refFor="ch" refForName="circle2" fact="0.1875"/>
              </dgm:constrLst>
            </dgm:if>
            <dgm:if name="Name20" axis="ch" ptType="node" func="cnt" op="equ" val="4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5"/>
                <dgm:constr type="w" for="ch" forName="c2text" refType="w" refFor="ch" refForName="circle2" fact="0.3495"/>
                <dgm:constr type="h" for="ch" forName="c2text" refType="h" refFor="ch" refForName="circle2" fact="0.18"/>
              </dgm:constrLst>
            </dgm:if>
            <dgm:if name="Name21" axis="ch" ptType="node" func="cnt" op="gte" val="5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15"/>
                <dgm:constr type="w" for="ch" forName="c2text" refType="w" refFor="ch" refForName="circle2" fact="0.43125"/>
                <dgm:constr type="h" for="ch" forName="c2text" refType="h" refFor="ch" refForName="circle2" fact="0.115"/>
              </dgm:constrLst>
            </dgm:if>
            <dgm:else name="Name22"/>
          </dgm:choose>
          <dgm:ruleLst/>
          <dgm:layoutNode name="circle2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2 1" cnt="1 0"/>
            <dgm:constrLst>
              <dgm:constr type="h" refType="w"/>
            </dgm:constrLst>
            <dgm:ruleLst/>
          </dgm:layoutNode>
          <dgm:layoutNode name="c2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2 1" cnt="1 0"/>
            <dgm:constrLst/>
            <dgm:ruleLst>
              <dgm:rule type="primFontSz" val="5" fact="NaN" max="NaN"/>
            </dgm:ruleLst>
          </dgm:layoutNode>
        </dgm:layoutNode>
      </dgm:if>
      <dgm:else name="Name23"/>
    </dgm:choose>
    <dgm:choose name="Name24">
      <dgm:if name="Name25" axis="ch" ptType="node" func="cnt" op="gte" val="3">
        <dgm:layoutNode name="comp3">
          <dgm:alg type="composite"/>
          <dgm:shape xmlns:r="http://schemas.openxmlformats.org/officeDocument/2006/relationships" r:blip="">
            <dgm:adjLst/>
          </dgm:shape>
          <dgm:presOf/>
          <dgm:choose name="Name26">
            <dgm:if name="Name27" axis="ch" ptType="node" func="cnt" op="equ" val="3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5"/>
                <dgm:constr type="w" for="ch" forName="c3text" refType="w" refFor="ch" refForName="circle3" fact="0.70711"/>
                <dgm:constr type="h" for="ch" forName="c3text" refType="h" refFor="ch" refForName="circle3" fact="0.5"/>
              </dgm:constrLst>
            </dgm:if>
            <dgm:if name="Name28" axis="ch" ptType="node" func="cnt" op="equ" val="4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1875"/>
                <dgm:constr type="w" for="ch" forName="c3text" refType="w" refFor="ch" refForName="circle3" fact="0.466"/>
                <dgm:constr type="h" for="ch" forName="c3text" refType="h" refFor="ch" refForName="circle3" fact="0.225"/>
              </dgm:constrLst>
            </dgm:if>
            <dgm:if name="Name29" axis="ch" ptType="node" func="cnt" op="gte" val="5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138"/>
                <dgm:constr type="w" for="ch" forName="c3text" refType="w" refFor="ch" refForName="circle3" fact="0.5175"/>
                <dgm:constr type="h" for="ch" forName="c3text" refType="h" refFor="ch" refForName="circle3" fact="0.138"/>
              </dgm:constrLst>
            </dgm:if>
            <dgm:else name="Name30"/>
          </dgm:choose>
          <dgm:ruleLst/>
          <dgm:layoutNode name="circle3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3 1" cnt="1 0"/>
            <dgm:constrLst>
              <dgm:constr type="h" refType="w"/>
            </dgm:constrLst>
            <dgm:ruleLst/>
          </dgm:layoutNode>
          <dgm:layoutNode name="c3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3 1" cnt="1 0"/>
            <dgm:constrLst/>
            <dgm:ruleLst>
              <dgm:rule type="primFontSz" val="5" fact="NaN" max="NaN"/>
            </dgm:ruleLst>
          </dgm:layoutNode>
        </dgm:layoutNode>
      </dgm:if>
      <dgm:else name="Name31"/>
    </dgm:choose>
    <dgm:choose name="Name32">
      <dgm:if name="Name33" axis="ch" ptType="node" func="cnt" op="gte" val="4">
        <dgm:layoutNode name="comp4">
          <dgm:alg type="composite"/>
          <dgm:shape xmlns:r="http://schemas.openxmlformats.org/officeDocument/2006/relationships" r:blip="">
            <dgm:adjLst/>
          </dgm:shape>
          <dgm:presOf/>
          <dgm:choose name="Name34">
            <dgm:if name="Name35" axis="ch" ptType="node" func="cnt" op="equ" val="4">
              <dgm:constrLst>
                <dgm:constr type="w" for="ch" forName="circle4" refType="w"/>
                <dgm:constr type="h" for="ch" forName="circle4" refType="h"/>
                <dgm:constr type="ctrX" for="ch" forName="circle4" refType="w" fact="0.5"/>
                <dgm:constr type="ctrY" for="ch" forName="circle4" refType="h" fact="0.5"/>
                <dgm:constr type="ctrX" for="ch" forName="c4text" refType="w" fact="0.5"/>
                <dgm:constr type="ctrY" for="ch" forName="c4text" refType="h" fact="0.5"/>
                <dgm:constr type="w" for="ch" forName="c4text" refType="w" refFor="ch" refForName="circle4" fact="0.70711"/>
                <dgm:constr type="h" for="ch" forName="c4text" refType="h" refFor="ch" refForName="circle4" fact="0.5"/>
              </dgm:constrLst>
            </dgm:if>
            <dgm:if name="Name36" axis="ch" ptType="node" func="cnt" op="gte" val="5">
              <dgm:constrLst>
                <dgm:constr type="w" for="ch" forName="circle4" refType="w"/>
                <dgm:constr type="h" for="ch" forName="circle4" refType="h"/>
                <dgm:constr type="ctrX" for="ch" forName="circle4" refType="w" fact="0.5"/>
                <dgm:constr type="ctrY" for="ch" forName="circle4" refType="h" fact="0.5"/>
                <dgm:constr type="ctrX" for="ch" forName="c4text" refType="w" fact="0.5"/>
                <dgm:constr type="ctrY" for="ch" forName="c4text" refType="h" fact="0.18"/>
                <dgm:constr type="w" for="ch" forName="c4text" refType="w" refFor="ch" refForName="circle4" fact="0.54"/>
                <dgm:constr type="h" for="ch" forName="c4text" refType="h" refFor="ch" refForName="circle4" fact="0.18"/>
              </dgm:constrLst>
            </dgm:if>
            <dgm:else name="Name37"/>
          </dgm:choose>
          <dgm:ruleLst/>
          <dgm:layoutNode name="circle4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4 1" cnt="1 0"/>
            <dgm:constrLst>
              <dgm:constr type="h" refType="w"/>
            </dgm:constrLst>
            <dgm:ruleLst/>
          </dgm:layoutNode>
          <dgm:layoutNode name="c4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4 1" cnt="1 0"/>
            <dgm:constrLst/>
            <dgm:ruleLst>
              <dgm:rule type="primFontSz" val="5" fact="NaN" max="NaN"/>
            </dgm:ruleLst>
          </dgm:layoutNode>
        </dgm:layoutNode>
      </dgm:if>
      <dgm:else name="Name38"/>
    </dgm:choose>
    <dgm:choose name="Name39">
      <dgm:if name="Name40" axis="ch" ptType="node" func="cnt" op="gte" val="5">
        <dgm:layoutNode name="comp5">
          <dgm:alg type="composite"/>
          <dgm:shape xmlns:r="http://schemas.openxmlformats.org/officeDocument/2006/relationships" r:blip="">
            <dgm:adjLst/>
          </dgm:shape>
          <dgm:presOf/>
          <dgm:choose name="Name41">
            <dgm:if name="Name42" axis="ch" ptType="node" func="cnt" op="equ" val="5">
              <dgm:constrLst>
                <dgm:constr type="w" for="ch" forName="circle5" refType="w"/>
                <dgm:constr type="h" for="ch" forName="circle5" refType="h"/>
                <dgm:constr type="ctrX" for="ch" forName="circle5" refType="w" fact="0.5"/>
                <dgm:constr type="ctrY" for="ch" forName="circle5" refType="h" fact="0.5"/>
                <dgm:constr type="ctrX" for="ch" forName="c5text" refType="w" fact="0.5"/>
                <dgm:constr type="ctrY" for="ch" forName="c5text" refType="h" fact="0.5"/>
                <dgm:constr type="w" for="ch" forName="c5text" refType="w" refFor="ch" refForName="circle5" fact="0.70711"/>
                <dgm:constr type="h" for="ch" forName="c5text" refType="h" refFor="ch" refForName="circle5" fact="0.5"/>
              </dgm:constrLst>
            </dgm:if>
            <dgm:if name="Name43" axis="ch" ptType="node" func="cnt" op="gte" val="6">
              <dgm:constrLst>
                <dgm:constr type="w" for="ch" forName="circle5" refType="w"/>
                <dgm:constr type="h" for="ch" forName="circle5" refType="h"/>
                <dgm:constr type="ctrX" for="ch" forName="circle5" refType="w" fact="0.5"/>
                <dgm:constr type="ctrY" for="ch" forName="circle5" refType="h" fact="0.5"/>
                <dgm:constr type="ctrX" for="ch" forName="c5text" refType="w" fact="0.5"/>
                <dgm:constr type="ctrY" for="ch" forName="c5text" refType="h" fact="0.25"/>
                <dgm:constr type="w" for="ch" forName="c5text" refType="w" refFor="ch" refForName="circle5" fact="0.65"/>
                <dgm:constr type="h" for="ch" forName="c5text" refType="h" refFor="ch" refForName="circle5" fact="0.25"/>
              </dgm:constrLst>
            </dgm:if>
            <dgm:else name="Name44"/>
          </dgm:choose>
          <dgm:ruleLst/>
          <dgm:layoutNode name="circle5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5 1" cnt="1 0"/>
            <dgm:constrLst>
              <dgm:constr type="h" refType="w"/>
            </dgm:constrLst>
            <dgm:ruleLst/>
          </dgm:layoutNode>
          <dgm:layoutNode name="c5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5 1" cnt="1 0"/>
            <dgm:constrLst/>
            <dgm:ruleLst>
              <dgm:rule type="primFontSz" val="5" fact="NaN" max="NaN"/>
            </dgm:ruleLst>
          </dgm:layoutNode>
        </dgm:layoutNode>
      </dgm:if>
      <dgm:else name="Name45"/>
    </dgm:choose>
    <dgm:choose name="Name46">
      <dgm:if name="Name47" axis="ch" ptType="node" func="cnt" op="gte" val="6">
        <dgm:layoutNode name="comp6">
          <dgm:alg type="composite"/>
          <dgm:shape xmlns:r="http://schemas.openxmlformats.org/officeDocument/2006/relationships" r:blip="">
            <dgm:adjLst/>
          </dgm:shape>
          <dgm:presOf/>
          <dgm:choose name="Name48">
            <dgm:if name="Name49" axis="ch" ptType="node" func="cnt" op="equ" val="6">
              <dgm:constrLst>
                <dgm:constr type="w" for="ch" forName="circle6" refType="w"/>
                <dgm:constr type="h" for="ch" forName="circle6" refType="h"/>
                <dgm:constr type="ctrX" for="ch" forName="circle6" refType="w" fact="0.5"/>
                <dgm:constr type="ctrY" for="ch" forName="circle6" refType="h" fact="0.5"/>
                <dgm:constr type="ctrX" for="ch" forName="c6text" refType="w" fact="0.5"/>
                <dgm:constr type="ctrY" for="ch" forName="c6text" refType="h" fact="0.5"/>
                <dgm:constr type="w" for="ch" forName="c6text" refType="w" refFor="ch" refForName="circle6" fact="0.70711"/>
                <dgm:constr type="h" for="ch" forName="c6text" refType="h" refFor="ch" refForName="circle6" fact="0.5"/>
              </dgm:constrLst>
            </dgm:if>
            <dgm:if name="Name50" axis="ch" ptType="node" func="cnt" op="gte" val="7">
              <dgm:constrLst>
                <dgm:constr type="w" for="ch" forName="circle6" refType="w"/>
                <dgm:constr type="h" for="ch" forName="circle6" refType="h"/>
                <dgm:constr type="ctrX" for="ch" forName="circle6" refType="w" fact="0.5"/>
                <dgm:constr type="ctrY" for="ch" forName="circle6" refType="h" fact="0.5"/>
                <dgm:constr type="ctrX" for="ch" forName="c6text" refType="w" fact="0.5"/>
                <dgm:constr type="ctrY" for="ch" forName="c6text" refType="h" fact="0.27"/>
                <dgm:constr type="w" for="ch" forName="c6text" refType="w" refFor="ch" refForName="circle6" fact="0.68"/>
                <dgm:constr type="h" for="ch" forName="c6text" refType="h" refFor="ch" refForName="circle6" fact="0.241"/>
              </dgm:constrLst>
            </dgm:if>
            <dgm:else name="Name51"/>
          </dgm:choose>
          <dgm:ruleLst/>
          <dgm:layoutNode name="circle6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6 1" cnt="1 0"/>
            <dgm:constrLst>
              <dgm:constr type="h" refType="w"/>
            </dgm:constrLst>
            <dgm:ruleLst/>
          </dgm:layoutNode>
          <dgm:layoutNode name="c6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6 1" cnt="1 0"/>
            <dgm:constrLst/>
            <dgm:ruleLst>
              <dgm:rule type="primFontSz" val="5" fact="NaN" max="NaN"/>
            </dgm:ruleLst>
          </dgm:layoutNode>
        </dgm:layoutNode>
      </dgm:if>
      <dgm:else name="Name52"/>
    </dgm:choose>
    <dgm:choose name="Name53">
      <dgm:if name="Name54" axis="ch" ptType="node" func="cnt" op="gte" val="7">
        <dgm:layoutNode name="comp7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circle7" refType="w"/>
            <dgm:constr type="h" for="ch" forName="circle7" refType="h"/>
            <dgm:constr type="ctrX" for="ch" forName="circle7" refType="w" fact="0.5"/>
            <dgm:constr type="ctrY" for="ch" forName="circle7" refType="h" fact="0.5"/>
            <dgm:constr type="ctrX" for="ch" forName="c7text" refType="w" fact="0.5"/>
            <dgm:constr type="ctrY" for="ch" forName="c7text" refType="h" fact="0.5"/>
            <dgm:constr type="w" for="ch" forName="c7text" refType="w" refFor="ch" refForName="circle7" fact="0.70711"/>
            <dgm:constr type="h" for="ch" forName="c7text" refType="h" refFor="ch" refForName="circle7" fact="0.5"/>
          </dgm:constrLst>
          <dgm:ruleLst/>
          <dgm:layoutNode name="circle7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7 1" cnt="1 0"/>
            <dgm:constrLst>
              <dgm:constr type="h" refType="w"/>
            </dgm:constrLst>
            <dgm:ruleLst/>
          </dgm:layoutNode>
          <dgm:layoutNode name="c7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7 1" cnt="1 0"/>
            <dgm:constrLst/>
            <dgm:ruleLst>
              <dgm:rule type="primFontSz" val="5" fact="NaN" max="NaN"/>
            </dgm:ruleLst>
          </dgm:layoutNode>
        </dgm:layoutNode>
      </dgm:if>
      <dgm:else name="Name55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B810D8D-68EF-104F-897B-400E5A86AC0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104400" y="8655069"/>
            <a:ext cx="432000" cy="306000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algn="r"/>
            <a:fld id="{17A3870A-23B3-8C42-9680-396FBEA6B6AD}" type="slidenum">
              <a:rPr lang="de-DE" sz="1000" b="1">
                <a:solidFill>
                  <a:schemeClr val="tx2"/>
                </a:solidFill>
                <a:cs typeface="Arial" panose="020B0604020202020204" pitchFamily="34" charset="0"/>
              </a:rPr>
              <a:pPr algn="r"/>
              <a:t>‹Nr.›</a:t>
            </a:fld>
            <a:endParaRPr lang="de-DE" sz="1000" b="1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45305254-F1F9-7548-8E41-35654082BE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5800" y="8423318"/>
            <a:ext cx="432000" cy="432000"/>
          </a:xfrm>
          <a:prstGeom prst="rect">
            <a:avLst/>
          </a:prstGeom>
        </p:spPr>
      </p:pic>
      <p:sp>
        <p:nvSpPr>
          <p:cNvPr id="2" name="Fußzeilenplatzhalter 1"/>
          <p:cNvSpPr>
            <a:spLocks noGrp="1"/>
          </p:cNvSpPr>
          <p:nvPr>
            <p:ph type="ftr" sz="quarter" idx="2"/>
          </p:nvPr>
        </p:nvSpPr>
        <p:spPr>
          <a:xfrm>
            <a:off x="590400" y="8655069"/>
            <a:ext cx="2743200" cy="306000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r>
              <a:rPr lang="de-DE" sz="1000" dirty="0">
                <a:solidFill>
                  <a:schemeClr val="accent1"/>
                </a:solidFill>
                <a:cs typeface="Arial" panose="020B0604020202020204" pitchFamily="34" charset="0"/>
              </a:rPr>
              <a:t>Name | Abteilung | 30. Januar 2019</a:t>
            </a:r>
          </a:p>
        </p:txBody>
      </p:sp>
    </p:spTree>
    <p:extLst>
      <p:ext uri="{BB962C8B-B14F-4D97-AF65-F5344CB8AC3E}">
        <p14:creationId xmlns:p14="http://schemas.microsoft.com/office/powerpoint/2010/main" val="1402407393"/>
      </p:ext>
    </p:extLst>
  </p:cSld>
  <p:clrMap bg1="lt1" tx1="dk1" bg2="lt2" tx2="dk2" accent1="accent1" accent2="accent2" accent3="accent3" accent4="accent4" accent5="accent5" accent6="accent6" hlink="hlink" folHlink="folHlink"/>
  <p:hf hdr="0" dt="0"/>
  <p:extLst>
    <p:ext uri="{56416CCD-93CA-4268-BC5B-53C4BB910035}">
      <p15:sldGuideLst xmlns:p15="http://schemas.microsoft.com/office/powerpoint/2012/main">
        <p15:guide id="2" pos="4112" userDrawn="1">
          <p15:clr>
            <a:srgbClr val="F26B43"/>
          </p15:clr>
        </p15:guide>
        <p15:guide id="3" pos="189" userDrawn="1">
          <p15:clr>
            <a:srgbClr val="F26B43"/>
          </p15:clr>
        </p15:guide>
        <p15:guide id="4" orient="horz" pos="187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26035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300038" y="3607358"/>
            <a:ext cx="6227762" cy="4515222"/>
          </a:xfrm>
          <a:prstGeom prst="rect">
            <a:avLst/>
          </a:prstGeom>
        </p:spPr>
        <p:txBody>
          <a:bodyPr vert="horz" lIns="0" tIns="0" rIns="0" bIns="0" rtlCol="0"/>
          <a:lstStyle/>
          <a:p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104400" y="8654400"/>
            <a:ext cx="432000" cy="30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lang="de-DE" sz="1000" b="1">
                <a:solidFill>
                  <a:schemeClr val="tx2"/>
                </a:solidFill>
                <a:cs typeface="Arial" panose="020B0604020202020204" pitchFamily="34" charset="0"/>
              </a:defRPr>
            </a:lvl1pPr>
          </a:lstStyle>
          <a:p>
            <a:pPr algn="r"/>
            <a:fld id="{7D817C07-CE16-5C41-9ABD-94C73CEF6061}" type="slidenum">
              <a:rPr lang="de-DE"/>
              <a:pPr algn="r"/>
              <a:t>‹Nr.›</a:t>
            </a:fld>
            <a:endParaRPr lang="de-DE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4"/>
          </p:nvPr>
        </p:nvSpPr>
        <p:spPr>
          <a:xfrm>
            <a:off x="590400" y="8654400"/>
            <a:ext cx="2743200" cy="30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lang="de-DE" sz="1000">
                <a:solidFill>
                  <a:schemeClr val="accent1"/>
                </a:solidFill>
                <a:cs typeface="Arial" panose="020B0604020202020204" pitchFamily="34" charset="0"/>
              </a:defRPr>
            </a:lvl1pPr>
          </a:lstStyle>
          <a:p>
            <a:r>
              <a:rPr lang="de-DE" dirty="0"/>
              <a:t>Name | Abteilung | 30. Januar 2019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45305254-F1F9-7548-8E41-35654082BE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5800" y="8423318"/>
            <a:ext cx="432000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0741054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spcBef>
        <a:spcPts val="600"/>
      </a:spcBef>
      <a:spcAft>
        <a:spcPts val="600"/>
      </a:spcAft>
      <a:defRPr sz="1200" b="1" kern="1200">
        <a:solidFill>
          <a:schemeClr val="tx1"/>
        </a:solidFill>
        <a:latin typeface="+mn-lt"/>
        <a:ea typeface="+mn-ea"/>
        <a:cs typeface="+mn-cs"/>
      </a:defRPr>
    </a:lvl1pPr>
    <a:lvl2pPr marL="0" algn="l" defTabSz="914400" rtl="0" eaLnBrk="1" latinLnBrk="0" hangingPunct="1">
      <a:spcAft>
        <a:spcPts val="60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0" indent="-144000" algn="l" defTabSz="914400" rtl="0" eaLnBrk="1" latinLnBrk="0" hangingPunct="1">
      <a:spcBef>
        <a:spcPts val="500"/>
      </a:spcBef>
      <a:buClr>
        <a:schemeClr val="tx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288000" indent="-144000" algn="l" defTabSz="914400" rtl="0" eaLnBrk="1" latinLnBrk="0" hangingPunct="1">
      <a:spcBef>
        <a:spcPts val="500"/>
      </a:spcBef>
      <a:buClr>
        <a:schemeClr val="tx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432000" indent="-144000" algn="l" defTabSz="914400" rtl="0" eaLnBrk="1" latinLnBrk="0" hangingPunct="1">
      <a:spcBef>
        <a:spcPts val="500"/>
      </a:spcBef>
      <a:buClr>
        <a:schemeClr val="tx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pos="189" userDrawn="1">
          <p15:clr>
            <a:srgbClr val="F26B43"/>
          </p15:clr>
        </p15:guide>
        <p15:guide id="2" pos="4112" userDrawn="1">
          <p15:clr>
            <a:srgbClr val="F26B43"/>
          </p15:clr>
        </p15:guide>
        <p15:guide id="3" orient="horz" pos="164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r"/>
            <a:fld id="{7D817C07-CE16-5C41-9ABD-94C73CEF6061}" type="slidenum">
              <a:rPr lang="de-DE"/>
              <a:pPr algn="r"/>
              <a:t>1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 dirty="0"/>
              <a:t>Name | Abteilung | 30. Januar 2019</a:t>
            </a:r>
          </a:p>
        </p:txBody>
      </p:sp>
    </p:spTree>
    <p:extLst>
      <p:ext uri="{BB962C8B-B14F-4D97-AF65-F5344CB8AC3E}">
        <p14:creationId xmlns:p14="http://schemas.microsoft.com/office/powerpoint/2010/main" val="9948524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>
              <a:buNone/>
            </a:pPr>
            <a:r>
              <a:rPr lang="de-DE" sz="1200" u="sng" dirty="0"/>
              <a:t>Unser PURPOSE</a:t>
            </a:r>
            <a:r>
              <a:rPr lang="de-DE" sz="1200" dirty="0"/>
              <a:t>:</a:t>
            </a:r>
          </a:p>
          <a:p>
            <a:pPr algn="l">
              <a:buNone/>
            </a:pPr>
            <a:r>
              <a:rPr lang="de-DE" sz="1200" dirty="0"/>
              <a:t>Wir erschließen technologische Welten </a:t>
            </a:r>
            <a:r>
              <a:rPr lang="de-DE" sz="1200" b="1" dirty="0"/>
              <a:t>für kommende Generationen.</a:t>
            </a:r>
          </a:p>
          <a:p>
            <a:pPr algn="l">
              <a:buNone/>
            </a:pPr>
            <a:endParaRPr lang="de-DE" sz="1200" dirty="0"/>
          </a:p>
          <a:p>
            <a:pPr algn="l">
              <a:buNone/>
            </a:pPr>
            <a:r>
              <a:rPr lang="de-DE" sz="1200" b="0" i="0" u="sng" dirty="0">
                <a:solidFill>
                  <a:srgbClr val="313537"/>
                </a:solidFill>
                <a:effectLst/>
                <a:latin typeface="Segoe UI" panose="020B0502040204020203" pitchFamily="34" charset="0"/>
              </a:rPr>
              <a:t>Der Klimawandel bedroht unseren Geschäftserfolg und den unserer Kunden durch:</a:t>
            </a:r>
            <a:endParaRPr lang="de-DE" sz="1200" dirty="0">
              <a:solidFill>
                <a:srgbClr val="313537"/>
              </a:solidFill>
              <a:latin typeface="Segoe UI" panose="020B0502040204020203" pitchFamily="34" charset="0"/>
            </a:endParaRPr>
          </a:p>
          <a:p>
            <a:pPr marL="285750" indent="-285750"/>
            <a:r>
              <a:rPr lang="de-DE" sz="1200" dirty="0">
                <a:solidFill>
                  <a:srgbClr val="313537"/>
                </a:solidFill>
                <a:latin typeface="Segoe UI" panose="020B0502040204020203" pitchFamily="34" charset="0"/>
              </a:rPr>
              <a:t>politische Unruhen</a:t>
            </a:r>
          </a:p>
          <a:p>
            <a:pPr marL="285750" indent="-285750"/>
            <a:r>
              <a:rPr lang="de-DE" sz="1200" dirty="0">
                <a:solidFill>
                  <a:srgbClr val="313537"/>
                </a:solidFill>
                <a:latin typeface="Segoe UI" panose="020B0502040204020203" pitchFamily="34" charset="0"/>
              </a:rPr>
              <a:t>instabile Lieferketten</a:t>
            </a:r>
          </a:p>
          <a:p>
            <a:pPr marL="285750" indent="-285750"/>
            <a:r>
              <a:rPr lang="de-DE" sz="1200" dirty="0">
                <a:solidFill>
                  <a:srgbClr val="313537"/>
                </a:solidFill>
                <a:latin typeface="Segoe UI" panose="020B0502040204020203" pitchFamily="34" charset="0"/>
              </a:rPr>
              <a:t>Ressourcenmangel</a:t>
            </a:r>
          </a:p>
          <a:p>
            <a:pPr marL="285750" indent="-285750"/>
            <a:r>
              <a:rPr lang="de-DE" sz="1200" dirty="0">
                <a:solidFill>
                  <a:srgbClr val="313537"/>
                </a:solidFill>
                <a:latin typeface="Segoe UI" panose="020B0502040204020203" pitchFamily="34" charset="0"/>
              </a:rPr>
              <a:t>Schäden durch Extremwetter</a:t>
            </a:r>
          </a:p>
          <a:p>
            <a:pPr marL="285750" indent="-285750"/>
            <a:endParaRPr lang="de-DE" sz="1200" dirty="0">
              <a:solidFill>
                <a:srgbClr val="313537"/>
              </a:solidFill>
              <a:latin typeface="Segoe UI" panose="020B0502040204020203" pitchFamily="34" charset="0"/>
            </a:endParaRPr>
          </a:p>
          <a:p>
            <a:pPr marL="285750" indent="-285750"/>
            <a:endParaRPr lang="de-DE" sz="1200" dirty="0">
              <a:solidFill>
                <a:srgbClr val="313537"/>
              </a:solidFill>
              <a:latin typeface="Segoe UI" panose="020B0502040204020203" pitchFamily="34" charset="0"/>
            </a:endParaRPr>
          </a:p>
          <a:p>
            <a:pPr marL="180975" indent="-180975" algn="l">
              <a:spcAft>
                <a:spcPts val="600"/>
              </a:spcAft>
            </a:pPr>
            <a:r>
              <a:rPr lang="de-DE" sz="1200" dirty="0"/>
              <a:t>Offenlegung von Klimaschutz-Aktivitäten von Lieferanten</a:t>
            </a:r>
          </a:p>
          <a:p>
            <a:pPr marL="180975" indent="-180975" algn="l">
              <a:spcAft>
                <a:spcPts val="600"/>
              </a:spcAft>
            </a:pPr>
            <a:r>
              <a:rPr lang="de-DE" sz="1200" dirty="0"/>
              <a:t>Zielsetzung CO</a:t>
            </a:r>
            <a:r>
              <a:rPr lang="de-DE" sz="1200" baseline="-25000" dirty="0"/>
              <a:t>2</a:t>
            </a:r>
            <a:r>
              <a:rPr lang="de-DE" sz="1200" dirty="0"/>
              <a:t> neutrale Lieferketten</a:t>
            </a:r>
          </a:p>
          <a:p>
            <a:pPr marL="180975" indent="-180975" algn="l">
              <a:spcAft>
                <a:spcPts val="600"/>
              </a:spcAft>
            </a:pPr>
            <a:r>
              <a:rPr lang="de-DE" sz="1200" dirty="0"/>
              <a:t>CO</a:t>
            </a:r>
            <a:r>
              <a:rPr lang="de-DE" sz="1200" baseline="-25000" dirty="0"/>
              <a:t>2</a:t>
            </a:r>
            <a:r>
              <a:rPr lang="de-DE" sz="1200" dirty="0"/>
              <a:t> Footprint von Produkten</a:t>
            </a:r>
          </a:p>
          <a:p>
            <a:pPr algn="l">
              <a:spcAft>
                <a:spcPts val="600"/>
              </a:spcAft>
              <a:buNone/>
            </a:pPr>
            <a:r>
              <a:rPr lang="de-DE" sz="1200" b="1" dirty="0">
                <a:sym typeface="Wingdings" panose="05000000000000000000" pitchFamily="2" charset="2"/>
              </a:rPr>
              <a:t> ca. 100 Mio. € Auftragsvolumen / Jahr </a:t>
            </a:r>
            <a:r>
              <a:rPr lang="de-DE" sz="1200" dirty="0">
                <a:sym typeface="Wingdings" panose="05000000000000000000" pitchFamily="2" charset="2"/>
              </a:rPr>
              <a:t>für TRUMPF aktuell</a:t>
            </a:r>
            <a:endParaRPr lang="de-DE" sz="1200" dirty="0"/>
          </a:p>
          <a:p>
            <a:pPr marL="285750" indent="-285750"/>
            <a:endParaRPr lang="de-DE" sz="1200" dirty="0">
              <a:solidFill>
                <a:srgbClr val="313537"/>
              </a:solidFill>
              <a:latin typeface="Segoe UI" panose="020B0502040204020203" pitchFamily="34" charset="0"/>
            </a:endParaRPr>
          </a:p>
          <a:p>
            <a:pPr marL="285750" indent="-285750"/>
            <a:r>
              <a:rPr lang="de-DE" sz="1200" dirty="0">
                <a:solidFill>
                  <a:srgbClr val="313537"/>
                </a:solidFill>
                <a:latin typeface="Segoe UI" panose="020B0502040204020203" pitchFamily="34" charset="0"/>
              </a:rPr>
              <a:t>…</a:t>
            </a:r>
          </a:p>
          <a:p>
            <a:pPr marL="180975" indent="-180975" algn="l">
              <a:spcAft>
                <a:spcPts val="600"/>
              </a:spcAft>
            </a:pPr>
            <a:r>
              <a:rPr lang="de-DE" sz="1200" dirty="0"/>
              <a:t>Nachhaltigkeits-Berichtspflicht</a:t>
            </a:r>
          </a:p>
          <a:p>
            <a:pPr marL="180975" indent="-180975" algn="l">
              <a:spcAft>
                <a:spcPts val="600"/>
              </a:spcAft>
            </a:pPr>
            <a:r>
              <a:rPr lang="de-DE" sz="1200" dirty="0"/>
              <a:t>EU Taxonomie</a:t>
            </a:r>
          </a:p>
          <a:p>
            <a:pPr marL="180975" indent="-180975" algn="l">
              <a:spcAft>
                <a:spcPts val="600"/>
              </a:spcAft>
            </a:pPr>
            <a:r>
              <a:rPr lang="de-DE" sz="1200" dirty="0"/>
              <a:t>Sustainable Products Initiative</a:t>
            </a:r>
          </a:p>
          <a:p>
            <a:pPr marL="180975" indent="-180975" algn="l">
              <a:spcAft>
                <a:spcPts val="600"/>
              </a:spcAft>
            </a:pPr>
            <a:r>
              <a:rPr lang="de-DE" sz="1200" dirty="0"/>
              <a:t>CO</a:t>
            </a:r>
            <a:r>
              <a:rPr lang="de-DE" sz="1200" baseline="-25000" dirty="0"/>
              <a:t>2</a:t>
            </a:r>
            <a:r>
              <a:rPr lang="de-DE" sz="1200" dirty="0"/>
              <a:t>-Preis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r"/>
            <a:fld id="{7D817C07-CE16-5C41-9ABD-94C73CEF6061}" type="slidenum">
              <a:rPr lang="de-DE" smtClean="0"/>
              <a:pPr algn="r"/>
              <a:t>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 dirty="0"/>
              <a:t>Name | Abteilung | 30. Januar 2019</a:t>
            </a:r>
          </a:p>
        </p:txBody>
      </p:sp>
    </p:spTree>
    <p:extLst>
      <p:ext uri="{BB962C8B-B14F-4D97-AF65-F5344CB8AC3E}">
        <p14:creationId xmlns:p14="http://schemas.microsoft.com/office/powerpoint/2010/main" val="335973695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Datenverfügbarkeit für Transparenz und Steuerung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r"/>
            <a:fld id="{7D817C07-CE16-5C41-9ABD-94C73CEF6061}" type="slidenum">
              <a:rPr lang="de-DE" smtClean="0"/>
              <a:pPr algn="r"/>
              <a:t>3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 dirty="0"/>
              <a:t>Name | Abteilung | 30. Januar 2019</a:t>
            </a:r>
          </a:p>
        </p:txBody>
      </p:sp>
    </p:spTree>
    <p:extLst>
      <p:ext uri="{BB962C8B-B14F-4D97-AF65-F5344CB8AC3E}">
        <p14:creationId xmlns:p14="http://schemas.microsoft.com/office/powerpoint/2010/main" val="72839461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r"/>
            <a:fld id="{7D817C07-CE16-5C41-9ABD-94C73CEF6061}" type="slidenum">
              <a:rPr lang="de-DE" smtClean="0"/>
              <a:pPr algn="r"/>
              <a:t>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 dirty="0"/>
              <a:t>Name | Abteilung | 30. Januar 2019</a:t>
            </a:r>
          </a:p>
        </p:txBody>
      </p:sp>
    </p:spTree>
    <p:extLst>
      <p:ext uri="{BB962C8B-B14F-4D97-AF65-F5344CB8AC3E}">
        <p14:creationId xmlns:p14="http://schemas.microsoft.com/office/powerpoint/2010/main" val="85107546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Schritte / Hilfestellungen: Verankerung in Unternehmensstrategie, interne Bewusstseinsbildung und Sensibilisierung für Themen wie Energieverbrauch, Synergien mit bestehenden Zielen suchen (Material sparen bedeutet auch Kosten sparen), </a:t>
            </a:r>
          </a:p>
          <a:p>
            <a:endParaRPr lang="de-DE" dirty="0"/>
          </a:p>
          <a:p>
            <a:endParaRPr lang="de-DE" dirty="0"/>
          </a:p>
          <a:p>
            <a:r>
              <a:rPr lang="de-DE" dirty="0"/>
              <a:t>Strom und Gas Zahlen </a:t>
            </a:r>
            <a:r>
              <a:rPr lang="de-DE" dirty="0" err="1"/>
              <a:t>nennen..im</a:t>
            </a:r>
            <a:r>
              <a:rPr lang="de-DE" dirty="0"/>
              <a:t> GJ 2021/22 mehr erreicht als geplant</a:t>
            </a:r>
          </a:p>
          <a:p>
            <a:r>
              <a:rPr lang="de-DE" dirty="0"/>
              <a:t>PV 150.000m² Dachfläche, mit dem Ziel auf Kurs, schon rund 7,4 </a:t>
            </a:r>
            <a:r>
              <a:rPr lang="de-DE" dirty="0" err="1"/>
              <a:t>MWp</a:t>
            </a:r>
            <a:endParaRPr lang="de-DE" dirty="0"/>
          </a:p>
          <a:p>
            <a:r>
              <a:rPr lang="de-DE" dirty="0"/>
              <a:t>100% Grünstrom </a:t>
            </a:r>
          </a:p>
          <a:p>
            <a:r>
              <a:rPr lang="de-DE" dirty="0"/>
              <a:t>E-Fuhrpark aufgrund Lieferkettenthematik noch nicht auf Kurs…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r"/>
            <a:fld id="{7D817C07-CE16-5C41-9ABD-94C73CEF6061}" type="slidenum">
              <a:rPr lang="de-DE" smtClean="0"/>
              <a:pPr algn="r"/>
              <a:t>5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 dirty="0"/>
              <a:t>Name | Abteilung | 30. Januar 2019</a:t>
            </a:r>
          </a:p>
        </p:txBody>
      </p:sp>
    </p:spTree>
    <p:extLst>
      <p:ext uri="{BB962C8B-B14F-4D97-AF65-F5344CB8AC3E}">
        <p14:creationId xmlns:p14="http://schemas.microsoft.com/office/powerpoint/2010/main" val="262806908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Schritte / Hilfestellungen: Verankerung in Unternehmensstrategie, interne Bewusstseinsbildung und Sensibilisierung für Themen wie Energieverbrauch, Synergien mit bestehenden Zielen suchen (Material sparen bedeutet auch Kosten sparen), </a:t>
            </a:r>
          </a:p>
          <a:p>
            <a:endParaRPr lang="de-DE" dirty="0"/>
          </a:p>
          <a:p>
            <a:r>
              <a:rPr lang="de-DE" dirty="0"/>
              <a:t>Hürden / Herausforderungen: Nachhaltigkeit trotz Unternehmenswachstum, </a:t>
            </a:r>
            <a:endParaRPr lang="de-DE" sz="1200" u="none" dirty="0"/>
          </a:p>
          <a:p>
            <a:endParaRPr lang="de-DE" sz="1200" u="none" dirty="0"/>
          </a:p>
          <a:p>
            <a:endParaRPr lang="de-DE" sz="1200" u="none" dirty="0"/>
          </a:p>
          <a:p>
            <a:r>
              <a:rPr lang="de-DE" sz="1200" u="none" dirty="0"/>
              <a:t>Bei unserem </a:t>
            </a:r>
            <a:r>
              <a:rPr lang="de-DE" sz="1200" u="none" dirty="0" err="1"/>
              <a:t>Scope</a:t>
            </a:r>
            <a:r>
              <a:rPr lang="de-DE" sz="1200" u="none" dirty="0"/>
              <a:t> 3 mit den knapp über 7 Mio.TCO2 wollen wir energieeffizientere Produkte anbieten und auch in den Markt bringen.</a:t>
            </a:r>
          </a:p>
          <a:p>
            <a:r>
              <a:rPr lang="de-DE" sz="1200" u="none" dirty="0"/>
              <a:t>Es gibt über 70 konkrete Maßnahmen, wie e-</a:t>
            </a:r>
            <a:r>
              <a:rPr lang="de-DE" sz="1200" u="none" dirty="0" err="1"/>
              <a:t>Chiller</a:t>
            </a:r>
            <a:r>
              <a:rPr lang="de-DE" sz="1200" u="none" dirty="0"/>
              <a:t>, Abschaltszenarien mit KI und das über alle Geschäftsbereiche hinweg.</a:t>
            </a:r>
          </a:p>
          <a:p>
            <a:r>
              <a:rPr lang="de-DE" sz="1200" u="none" dirty="0"/>
              <a:t>Wie bereits vorgestellt müssen wir 14% absolut einsparen….mit  allen Maßnahmen liegen wir erst bei 9,5%...wir müssen also ständig dranbleiben, um das Ziel zu erreichen…</a:t>
            </a:r>
          </a:p>
          <a:p>
            <a:r>
              <a:rPr lang="de-DE" sz="1200" u="none" dirty="0"/>
              <a:t>Uns hilft natürlich auch, dass viele Kunden ihre Energieversorgung auf erneuerbare Energien umstellen.</a:t>
            </a:r>
          </a:p>
          <a:p>
            <a:endParaRPr lang="de-DE" sz="1200" u="none" dirty="0"/>
          </a:p>
          <a:p>
            <a:r>
              <a:rPr lang="de-DE" sz="1200" u="none" dirty="0"/>
              <a:t>Auch in der Lieferkette müssen wir gemeinsam mit unseren Lieferanten Teile in Richtung CO2 Emissionen neu denken…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r"/>
            <a:fld id="{7D817C07-CE16-5C41-9ABD-94C73CEF6061}" type="slidenum">
              <a:rPr lang="de-DE" smtClean="0"/>
              <a:pPr algn="r"/>
              <a:t>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 dirty="0"/>
              <a:t>Name | Abteilung | 30. Januar 2019</a:t>
            </a:r>
          </a:p>
        </p:txBody>
      </p:sp>
    </p:spTree>
    <p:extLst>
      <p:ext uri="{BB962C8B-B14F-4D97-AF65-F5344CB8AC3E}">
        <p14:creationId xmlns:p14="http://schemas.microsoft.com/office/powerpoint/2010/main" val="150544516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r"/>
            <a:fld id="{7D817C07-CE16-5C41-9ABD-94C73CEF6061}" type="slidenum">
              <a:rPr lang="de-DE" smtClean="0"/>
              <a:pPr algn="r"/>
              <a:t>7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 dirty="0"/>
              <a:t>Name | Abteilung | 30. Januar 2019</a:t>
            </a:r>
          </a:p>
        </p:txBody>
      </p:sp>
    </p:spTree>
    <p:extLst>
      <p:ext uri="{BB962C8B-B14F-4D97-AF65-F5344CB8AC3E}">
        <p14:creationId xmlns:p14="http://schemas.microsoft.com/office/powerpoint/2010/main" val="397851064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r"/>
            <a:fld id="{7D817C07-CE16-5C41-9ABD-94C73CEF6061}" type="slidenum">
              <a:rPr lang="de-DE"/>
              <a:pPr algn="r"/>
              <a:t>8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 dirty="0"/>
              <a:t>Name | Abteilung | 30. Januar 2019</a:t>
            </a:r>
          </a:p>
        </p:txBody>
      </p:sp>
    </p:spTree>
    <p:extLst>
      <p:ext uri="{BB962C8B-B14F-4D97-AF65-F5344CB8AC3E}">
        <p14:creationId xmlns:p14="http://schemas.microsoft.com/office/powerpoint/2010/main" val="41469330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2.emf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2.emf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1.xml"/><Relationship Id="rId7" Type="http://schemas.openxmlformats.org/officeDocument/2006/relationships/oleObject" Target="../embeddings/oleObject6.bin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3.xml"/><Relationship Id="rId4" Type="http://schemas.openxmlformats.org/officeDocument/2006/relationships/tags" Target="../tags/tag12.xml"/><Relationship Id="rId9" Type="http://schemas.openxmlformats.org/officeDocument/2006/relationships/image" Target="../media/image2.emf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2.emf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2.emf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1"/>
          </p:nvPr>
        </p:nvSpPr>
        <p:spPr>
          <a:xfrm>
            <a:off x="300038" y="288925"/>
            <a:ext cx="11590337" cy="3419475"/>
          </a:xfrm>
          <a:gradFill>
            <a:gsLst>
              <a:gs pos="50000">
                <a:schemeClr val="accent3"/>
              </a:gs>
              <a:gs pos="100000">
                <a:schemeClr val="accent4"/>
              </a:gs>
            </a:gsLst>
            <a:lin ang="0" scaled="0"/>
          </a:gradFill>
        </p:spPr>
        <p:txBody>
          <a:bodyPr vert="horz" lIns="0" tIns="0" rIns="0" bIns="0" rtlCol="0">
            <a:noAutofit/>
          </a:bodyPr>
          <a:lstStyle>
            <a:lvl1pPr>
              <a:defRPr lang="en-US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US"/>
          </a:p>
        </p:txBody>
      </p:sp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14134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Untertitel 2">
            <a:extLst>
              <a:ext uri="{FF2B5EF4-FFF2-40B4-BE49-F238E27FC236}">
                <a16:creationId xmlns:a16="http://schemas.microsoft.com/office/drawing/2014/main" id="{1EFD6C72-2063-AD48-9727-C4AB16A6DE1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00038" y="3821635"/>
            <a:ext cx="1005184" cy="215444"/>
          </a:xfrm>
          <a:noFill/>
        </p:spPr>
        <p:txBody>
          <a:bodyPr wrap="none" lIns="216000" tIns="0" rIns="0" bIns="0" anchor="ctr">
            <a:spAutoFit/>
          </a:bodyPr>
          <a:lstStyle>
            <a:lvl1pPr marL="0" indent="0" algn="l">
              <a:buNone/>
              <a:defRPr lang="de-DE" sz="14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77" indent="0" algn="ctr">
              <a:buNone/>
              <a:defRPr sz="2000"/>
            </a:lvl2pPr>
            <a:lvl3pPr marL="914355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3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7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97AA3D91-2715-1245-B649-15816B60CB0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00037" y="4068000"/>
            <a:ext cx="11376025" cy="1064355"/>
          </a:xfrm>
          <a:noFill/>
          <a:effectLst/>
        </p:spPr>
        <p:txBody>
          <a:bodyPr lIns="198000" tIns="0" rIns="0" anchor="b" anchorCtr="0">
            <a:noAutofit/>
          </a:bodyPr>
          <a:lstStyle>
            <a:lvl1pPr marL="0"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600" b="1" kern="1200" cap="none" baseline="0" dirty="0">
                <a:solidFill>
                  <a:schemeClr val="tx2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Überschrift</a:t>
            </a:r>
            <a:br>
              <a:rPr lang="de-DE" dirty="0"/>
            </a:br>
            <a:r>
              <a:rPr lang="de-DE" dirty="0"/>
              <a:t>in zwei Zeilen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507B9287-55AF-8048-9FEA-2A80D60D6670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179900" y="5849230"/>
            <a:ext cx="720000" cy="720000"/>
          </a:xfrm>
          <a:prstGeom prst="rect">
            <a:avLst/>
          </a:prstGeom>
        </p:spPr>
      </p:pic>
      <p:cxnSp>
        <p:nvCxnSpPr>
          <p:cNvPr id="9" name="Gerade Verbindung 8">
            <a:extLst>
              <a:ext uri="{FF2B5EF4-FFF2-40B4-BE49-F238E27FC236}">
                <a16:creationId xmlns:a16="http://schemas.microsoft.com/office/drawing/2014/main" id="{5D6BFDAA-1B23-B44C-B430-5B98D64133FF}"/>
              </a:ext>
            </a:extLst>
          </p:cNvPr>
          <p:cNvCxnSpPr>
            <a:cxnSpLocks/>
          </p:cNvCxnSpPr>
          <p:nvPr userDrawn="1"/>
        </p:nvCxnSpPr>
        <p:spPr>
          <a:xfrm>
            <a:off x="515938" y="5390460"/>
            <a:ext cx="2577897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E31E8C8-7C50-4010-8FA8-5E3FC76DB09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300038" y="5563622"/>
            <a:ext cx="4782950" cy="215444"/>
          </a:xfrm>
        </p:spPr>
        <p:txBody>
          <a:bodyPr lIns="216000" tIns="0" rIns="0" bIns="0"/>
          <a:lstStyle>
            <a:lvl1pPr>
              <a:spcBef>
                <a:spcPts val="600"/>
              </a:spcBef>
              <a:spcAft>
                <a:spcPts val="600"/>
              </a:spcAft>
              <a:defRPr sz="1400">
                <a:solidFill>
                  <a:schemeClr val="tx2"/>
                </a:solidFill>
              </a:defRPr>
            </a:lvl1pPr>
          </a:lstStyle>
          <a:p>
            <a:r>
              <a:rPr lang="nb-NO"/>
              <a:t>Susanne Hartlieb | TRUMPF SE + Co. K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03583848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Überschrift mit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15938" y="512763"/>
            <a:ext cx="11160125" cy="38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D57957C-F0F3-7842-B0E2-B762F92D6487}" type="slidenum">
              <a:rPr lang="de-DE"/>
              <a:pPr/>
              <a:t>‹Nr.›</a:t>
            </a:fld>
            <a:r>
              <a:rPr lang="de-DE"/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Susanne Hartlieb | TRUMPF SE + Co. KG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6" hasCustomPrompt="1"/>
          </p:nvPr>
        </p:nvSpPr>
        <p:spPr>
          <a:xfrm>
            <a:off x="515938" y="919611"/>
            <a:ext cx="11160000" cy="38779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800" b="0">
                <a:latin typeface="+mj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bearbeit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49886302-4F5D-487E-BE27-FD743DE82AD5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de-DE"/>
              <a:t>26.04.2023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97420996"/>
      </p:ext>
    </p:extLst>
  </p:cSld>
  <p:clrMapOvr>
    <a:masterClrMapping/>
  </p:clrMapOvr>
  <p:hf hd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25FE5864-A094-406E-89E9-D63179E2EA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6.04.2023</a:t>
            </a:r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7E91B4C-233A-4A98-B35D-AFD3519FC6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Susanne Hartlieb | TRUMPF SE + Co. KG</a:t>
            </a:r>
            <a:endParaRPr lang="en-US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F473746-635E-41B0-B312-333AEFDBF9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57957C-F0F3-7842-B0E2-B762F92D6487}" type="slidenum">
              <a:rPr lang="en-US"/>
              <a:pPr/>
              <a:t>‹Nr.›</a:t>
            </a:fld>
            <a:r>
              <a:rPr lang="en-US"/>
              <a:t>  </a:t>
            </a:r>
            <a:r>
              <a:rPr lang="en-US" b="0">
                <a:solidFill>
                  <a:schemeClr val="accent1"/>
                </a:solidFill>
              </a:rPr>
              <a:t>|</a:t>
            </a:r>
            <a:endParaRPr lang="en-US" sz="900" b="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7774965"/>
      </p:ext>
    </p:extLst>
  </p:cSld>
  <p:clrMapOvr>
    <a:masterClrMapping/>
  </p:clrMapOvr>
  <p:hf hd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lder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03FE40-B22A-7341-B28C-28DFD29DF8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512763"/>
            <a:ext cx="11160125" cy="867600"/>
          </a:xfrm>
        </p:spPr>
        <p:txBody>
          <a:bodyPr/>
          <a:lstStyle>
            <a:lvl1pPr>
              <a:defRPr b="1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54A3B36-B0FE-C746-9087-319E2EDF7A1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413888" y="1484313"/>
            <a:ext cx="8262175" cy="434657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6"/>
          </p:nvPr>
        </p:nvSpPr>
        <p:spPr>
          <a:xfrm>
            <a:off x="515937" y="1484313"/>
            <a:ext cx="2682051" cy="1890712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4" name="Bildplatzhalter 5"/>
          <p:cNvSpPr>
            <a:spLocks noGrp="1"/>
          </p:cNvSpPr>
          <p:nvPr>
            <p:ph type="pic" sz="quarter" idx="17"/>
          </p:nvPr>
        </p:nvSpPr>
        <p:spPr>
          <a:xfrm>
            <a:off x="515937" y="3940175"/>
            <a:ext cx="2682051" cy="1890712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6941DF2-0F6B-45C1-966C-06168FDE473B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r>
              <a:rPr lang="de-DE"/>
              <a:t>26.04.2023</a:t>
            </a:r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6D4F61F5-30EB-4395-BA5E-8550DCE9C55F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nb-NO"/>
              <a:t>Susanne Hartlieb | TRUMPF SE + Co. KG</a:t>
            </a:r>
            <a:endParaRPr lang="en-US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8D7220F9-CC6B-4005-A15E-6DA82DADB4AD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8D57957C-F0F3-7842-B0E2-B762F92D6487}" type="slidenum">
              <a:rPr lang="en-US"/>
              <a:pPr/>
              <a:t>‹Nr.›</a:t>
            </a:fld>
            <a:r>
              <a:rPr lang="en-US"/>
              <a:t>  </a:t>
            </a:r>
            <a:r>
              <a:rPr lang="en-US" b="0">
                <a:solidFill>
                  <a:schemeClr val="accent1"/>
                </a:solidFill>
              </a:rPr>
              <a:t>|</a:t>
            </a:r>
            <a:endParaRPr lang="en-US" sz="900" b="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5224656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083">
          <p15:clr>
            <a:srgbClr val="FBAE40"/>
          </p15:clr>
        </p15:guide>
        <p15:guide id="3" pos="5597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lder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03FE40-B22A-7341-B28C-28DFD29DF8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512763"/>
            <a:ext cx="11160125" cy="867600"/>
          </a:xfrm>
        </p:spPr>
        <p:txBody>
          <a:bodyPr/>
          <a:lstStyle>
            <a:lvl1pPr>
              <a:defRPr b="1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54A3B36-B0FE-C746-9087-319E2EDF7A1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03972" y="1484313"/>
            <a:ext cx="5472091" cy="434657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6"/>
          </p:nvPr>
        </p:nvSpPr>
        <p:spPr>
          <a:xfrm>
            <a:off x="515937" y="1484313"/>
            <a:ext cx="2682051" cy="1890712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4" name="Bildplatzhalter 5"/>
          <p:cNvSpPr>
            <a:spLocks noGrp="1"/>
          </p:cNvSpPr>
          <p:nvPr>
            <p:ph type="pic" sz="quarter" idx="17"/>
          </p:nvPr>
        </p:nvSpPr>
        <p:spPr>
          <a:xfrm>
            <a:off x="515937" y="3940175"/>
            <a:ext cx="2682051" cy="1890712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8" name="Bildplatzhalter 5"/>
          <p:cNvSpPr>
            <a:spLocks noGrp="1"/>
          </p:cNvSpPr>
          <p:nvPr>
            <p:ph type="pic" sz="quarter" idx="18"/>
          </p:nvPr>
        </p:nvSpPr>
        <p:spPr>
          <a:xfrm>
            <a:off x="3306763" y="1484313"/>
            <a:ext cx="2682051" cy="1890712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0AB8402-18D2-4C1D-8362-49FE78227748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de-DE"/>
              <a:t>26.04.2023</a:t>
            </a:r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0D36A0C-F2A6-4F3F-9333-8EE15915EE25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nb-NO"/>
              <a:t>Susanne Hartlieb | TRUMPF SE + Co. KG</a:t>
            </a:r>
            <a:endParaRPr lang="en-US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85018286-1F2E-4583-9196-19A52EC0D160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8D57957C-F0F3-7842-B0E2-B762F92D6487}" type="slidenum">
              <a:rPr lang="en-US"/>
              <a:pPr/>
              <a:t>‹Nr.›</a:t>
            </a:fld>
            <a:r>
              <a:rPr lang="en-US"/>
              <a:t>  </a:t>
            </a:r>
            <a:r>
              <a:rPr lang="en-US" b="0">
                <a:solidFill>
                  <a:schemeClr val="accent1"/>
                </a:solidFill>
              </a:rPr>
              <a:t>|</a:t>
            </a:r>
            <a:endParaRPr lang="en-US" sz="900" b="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4476344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083">
          <p15:clr>
            <a:srgbClr val="FBAE40"/>
          </p15:clr>
        </p15:guide>
        <p15:guide id="3" pos="5597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ilder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03FE40-B22A-7341-B28C-28DFD29DF8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512763"/>
            <a:ext cx="11160125" cy="867600"/>
          </a:xfrm>
        </p:spPr>
        <p:txBody>
          <a:bodyPr/>
          <a:lstStyle>
            <a:lvl1pPr>
              <a:defRPr b="1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54A3B36-B0FE-C746-9087-319E2EDF7A1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03972" y="1484313"/>
            <a:ext cx="5472091" cy="434657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6"/>
          </p:nvPr>
        </p:nvSpPr>
        <p:spPr>
          <a:xfrm>
            <a:off x="515937" y="1484313"/>
            <a:ext cx="2682051" cy="1890712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4" name="Bildplatzhalter 5"/>
          <p:cNvSpPr>
            <a:spLocks noGrp="1"/>
          </p:cNvSpPr>
          <p:nvPr>
            <p:ph type="pic" sz="quarter" idx="17"/>
          </p:nvPr>
        </p:nvSpPr>
        <p:spPr>
          <a:xfrm>
            <a:off x="515937" y="3940175"/>
            <a:ext cx="2682051" cy="1890712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8" name="Bildplatzhalter 5"/>
          <p:cNvSpPr>
            <a:spLocks noGrp="1"/>
          </p:cNvSpPr>
          <p:nvPr>
            <p:ph type="pic" sz="quarter" idx="18"/>
          </p:nvPr>
        </p:nvSpPr>
        <p:spPr>
          <a:xfrm>
            <a:off x="3306763" y="1484313"/>
            <a:ext cx="2682051" cy="1890712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9" name="Bildplatzhalter 5"/>
          <p:cNvSpPr>
            <a:spLocks noGrp="1"/>
          </p:cNvSpPr>
          <p:nvPr>
            <p:ph type="pic" sz="quarter" idx="19"/>
          </p:nvPr>
        </p:nvSpPr>
        <p:spPr>
          <a:xfrm>
            <a:off x="3306763" y="3940175"/>
            <a:ext cx="2682051" cy="1890712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81B665A-2976-4A88-A0BA-F7EEBE9D5967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26.04.2023</a:t>
            </a:r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64C59E19-C5BD-4BB7-B348-9F97269B3E8D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nb-NO"/>
              <a:t>Susanne Hartlieb | TRUMPF SE + Co. KG</a:t>
            </a:r>
            <a:endParaRPr lang="en-US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A1D1EF7-8F1C-4897-BADB-A79DF3D155EF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8D57957C-F0F3-7842-B0E2-B762F92D6487}" type="slidenum">
              <a:rPr lang="en-US"/>
              <a:pPr/>
              <a:t>‹Nr.›</a:t>
            </a:fld>
            <a:r>
              <a:rPr lang="en-US"/>
              <a:t>  </a:t>
            </a:r>
            <a:r>
              <a:rPr lang="en-US" b="0">
                <a:solidFill>
                  <a:schemeClr val="accent1"/>
                </a:solidFill>
              </a:rPr>
              <a:t>|</a:t>
            </a:r>
            <a:endParaRPr lang="en-US" sz="900" b="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2588916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083">
          <p15:clr>
            <a:srgbClr val="FBAE40"/>
          </p15:clr>
        </p15:guide>
        <p15:guide id="3" pos="5597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Bilder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03FE40-B22A-7341-B28C-28DFD29DF8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512763"/>
            <a:ext cx="11160125" cy="867600"/>
          </a:xfrm>
        </p:spPr>
        <p:txBody>
          <a:bodyPr/>
          <a:lstStyle>
            <a:lvl1pPr>
              <a:defRPr b="1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54A3B36-B0FE-C746-9087-319E2EDF7A1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993188" y="1484313"/>
            <a:ext cx="2682875" cy="434657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6"/>
          </p:nvPr>
        </p:nvSpPr>
        <p:spPr>
          <a:xfrm>
            <a:off x="515937" y="1484313"/>
            <a:ext cx="2682051" cy="1890712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4" name="Bildplatzhalter 5"/>
          <p:cNvSpPr>
            <a:spLocks noGrp="1"/>
          </p:cNvSpPr>
          <p:nvPr>
            <p:ph type="pic" sz="quarter" idx="17"/>
          </p:nvPr>
        </p:nvSpPr>
        <p:spPr>
          <a:xfrm>
            <a:off x="515937" y="3940175"/>
            <a:ext cx="2682051" cy="1890712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8" name="Bildplatzhalter 5"/>
          <p:cNvSpPr>
            <a:spLocks noGrp="1"/>
          </p:cNvSpPr>
          <p:nvPr>
            <p:ph type="pic" sz="quarter" idx="18"/>
          </p:nvPr>
        </p:nvSpPr>
        <p:spPr>
          <a:xfrm>
            <a:off x="3306763" y="1484313"/>
            <a:ext cx="2682051" cy="1890712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9" name="Bildplatzhalter 5"/>
          <p:cNvSpPr>
            <a:spLocks noGrp="1"/>
          </p:cNvSpPr>
          <p:nvPr>
            <p:ph type="pic" sz="quarter" idx="19"/>
          </p:nvPr>
        </p:nvSpPr>
        <p:spPr>
          <a:xfrm>
            <a:off x="3306763" y="3940175"/>
            <a:ext cx="2682051" cy="1890712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0" name="Bildplatzhalter 5"/>
          <p:cNvSpPr>
            <a:spLocks noGrp="1"/>
          </p:cNvSpPr>
          <p:nvPr>
            <p:ph type="pic" sz="quarter" idx="20"/>
          </p:nvPr>
        </p:nvSpPr>
        <p:spPr>
          <a:xfrm>
            <a:off x="6095237" y="1484313"/>
            <a:ext cx="2682051" cy="1890712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CE86D920-A535-4D00-A458-6DBD6C171628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r>
              <a:rPr lang="de-DE"/>
              <a:t>26.04.2023</a:t>
            </a:r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515805D-CC4C-463B-AA04-420C411F8AD5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nb-NO"/>
              <a:t>Susanne Hartlieb | TRUMPF SE + Co. KG</a:t>
            </a:r>
            <a:endParaRPr lang="en-US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47840625-60E5-4EC3-8607-A8F15E32F353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8D57957C-F0F3-7842-B0E2-B762F92D6487}" type="slidenum">
              <a:rPr lang="en-US"/>
              <a:pPr/>
              <a:t>‹Nr.›</a:t>
            </a:fld>
            <a:r>
              <a:rPr lang="en-US"/>
              <a:t>  </a:t>
            </a:r>
            <a:r>
              <a:rPr lang="en-US" b="0">
                <a:solidFill>
                  <a:schemeClr val="accent1"/>
                </a:solidFill>
              </a:rPr>
              <a:t>|</a:t>
            </a:r>
            <a:endParaRPr lang="en-US" sz="900" b="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5229447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083">
          <p15:clr>
            <a:srgbClr val="FBAE40"/>
          </p15:clr>
        </p15:guide>
        <p15:guide id="3" pos="5597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Bilder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03FE40-B22A-7341-B28C-28DFD29DF8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512763"/>
            <a:ext cx="11160125" cy="867600"/>
          </a:xfrm>
        </p:spPr>
        <p:txBody>
          <a:bodyPr/>
          <a:lstStyle>
            <a:lvl1pPr>
              <a:defRPr b="1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54A3B36-B0FE-C746-9087-319E2EDF7A1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993188" y="1484313"/>
            <a:ext cx="2682875" cy="434657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6"/>
          </p:nvPr>
        </p:nvSpPr>
        <p:spPr>
          <a:xfrm>
            <a:off x="515937" y="1484313"/>
            <a:ext cx="2682051" cy="1890712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4" name="Bildplatzhalter 5"/>
          <p:cNvSpPr>
            <a:spLocks noGrp="1"/>
          </p:cNvSpPr>
          <p:nvPr>
            <p:ph type="pic" sz="quarter" idx="17"/>
          </p:nvPr>
        </p:nvSpPr>
        <p:spPr>
          <a:xfrm>
            <a:off x="515937" y="3940175"/>
            <a:ext cx="2682051" cy="1890712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8" name="Bildplatzhalter 5"/>
          <p:cNvSpPr>
            <a:spLocks noGrp="1"/>
          </p:cNvSpPr>
          <p:nvPr>
            <p:ph type="pic" sz="quarter" idx="18"/>
          </p:nvPr>
        </p:nvSpPr>
        <p:spPr>
          <a:xfrm>
            <a:off x="3306763" y="1484313"/>
            <a:ext cx="2682051" cy="1890712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9" name="Bildplatzhalter 5"/>
          <p:cNvSpPr>
            <a:spLocks noGrp="1"/>
          </p:cNvSpPr>
          <p:nvPr>
            <p:ph type="pic" sz="quarter" idx="19"/>
          </p:nvPr>
        </p:nvSpPr>
        <p:spPr>
          <a:xfrm>
            <a:off x="3306763" y="3940175"/>
            <a:ext cx="2682051" cy="1890712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0" name="Bildplatzhalter 5"/>
          <p:cNvSpPr>
            <a:spLocks noGrp="1"/>
          </p:cNvSpPr>
          <p:nvPr>
            <p:ph type="pic" sz="quarter" idx="20"/>
          </p:nvPr>
        </p:nvSpPr>
        <p:spPr>
          <a:xfrm>
            <a:off x="6095237" y="1484313"/>
            <a:ext cx="2682051" cy="1890712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1" name="Bildplatzhalter 5"/>
          <p:cNvSpPr>
            <a:spLocks noGrp="1"/>
          </p:cNvSpPr>
          <p:nvPr>
            <p:ph type="pic" sz="quarter" idx="21"/>
          </p:nvPr>
        </p:nvSpPr>
        <p:spPr>
          <a:xfrm>
            <a:off x="6095237" y="3940175"/>
            <a:ext cx="2682051" cy="1890712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726DF89F-3840-4195-BCD3-821375BA6DF4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r>
              <a:rPr lang="de-DE"/>
              <a:t>26.04.2023</a:t>
            </a:r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A420337-6013-4F29-93EA-7FF10B9F6E85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nb-NO"/>
              <a:t>Susanne Hartlieb | TRUMPF SE + Co. KG</a:t>
            </a:r>
            <a:endParaRPr lang="en-US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D6CA6E1F-07FC-4A33-BB79-9130CD06267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8D57957C-F0F3-7842-B0E2-B762F92D6487}" type="slidenum">
              <a:rPr lang="en-US"/>
              <a:pPr/>
              <a:t>‹Nr.›</a:t>
            </a:fld>
            <a:r>
              <a:rPr lang="en-US"/>
              <a:t>  </a:t>
            </a:r>
            <a:r>
              <a:rPr lang="en-US" b="0">
                <a:solidFill>
                  <a:schemeClr val="accent1"/>
                </a:solidFill>
              </a:rPr>
              <a:t>|</a:t>
            </a:r>
            <a:endParaRPr lang="en-US" sz="900" b="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0670461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083">
          <p15:clr>
            <a:srgbClr val="FBAE40"/>
          </p15:clr>
        </p15:guide>
        <p15:guide id="3" pos="5597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lder ohn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03FE40-B22A-7341-B28C-28DFD29DF8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512763"/>
            <a:ext cx="11160125" cy="867600"/>
          </a:xfrm>
        </p:spPr>
        <p:txBody>
          <a:bodyPr/>
          <a:lstStyle>
            <a:lvl1pPr>
              <a:defRPr b="1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6"/>
          </p:nvPr>
        </p:nvSpPr>
        <p:spPr>
          <a:xfrm>
            <a:off x="515937" y="1484312"/>
            <a:ext cx="2947779" cy="2078037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4" name="Bildplatzhalter 5"/>
          <p:cNvSpPr>
            <a:spLocks noGrp="1"/>
          </p:cNvSpPr>
          <p:nvPr>
            <p:ph type="pic" sz="quarter" idx="17"/>
          </p:nvPr>
        </p:nvSpPr>
        <p:spPr>
          <a:xfrm>
            <a:off x="515937" y="3752851"/>
            <a:ext cx="2947779" cy="2078037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C258A21-4C59-47C5-84E0-E72E4E1AF087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r>
              <a:rPr lang="de-DE"/>
              <a:t>26.04.2023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B0C5735-602F-428B-BFB2-9E58793603CC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nb-NO"/>
              <a:t>Susanne Hartlieb | TRUMPF SE + Co. KG</a:t>
            </a:r>
            <a:endParaRPr lang="en-US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9F92C84-D2EA-4CF4-98C6-129F7B3C009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8D57957C-F0F3-7842-B0E2-B762F92D6487}" type="slidenum">
              <a:rPr lang="en-US"/>
              <a:pPr/>
              <a:t>‹Nr.›</a:t>
            </a:fld>
            <a:r>
              <a:rPr lang="en-US"/>
              <a:t>  </a:t>
            </a:r>
            <a:r>
              <a:rPr lang="en-US" b="0">
                <a:solidFill>
                  <a:schemeClr val="accent1"/>
                </a:solidFill>
              </a:rPr>
              <a:t>|</a:t>
            </a:r>
            <a:endParaRPr lang="en-US" sz="900" b="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9715379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083">
          <p15:clr>
            <a:srgbClr val="FBAE40"/>
          </p15:clr>
        </p15:guide>
        <p15:guide id="3" pos="5597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lder ohn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03FE40-B22A-7341-B28C-28DFD29DF8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512763"/>
            <a:ext cx="11160125" cy="867600"/>
          </a:xfrm>
        </p:spPr>
        <p:txBody>
          <a:bodyPr/>
          <a:lstStyle>
            <a:lvl1pPr>
              <a:defRPr b="1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6"/>
          </p:nvPr>
        </p:nvSpPr>
        <p:spPr>
          <a:xfrm>
            <a:off x="515937" y="1484312"/>
            <a:ext cx="2947779" cy="2078037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4" name="Bildplatzhalter 5"/>
          <p:cNvSpPr>
            <a:spLocks noGrp="1"/>
          </p:cNvSpPr>
          <p:nvPr>
            <p:ph type="pic" sz="quarter" idx="17"/>
          </p:nvPr>
        </p:nvSpPr>
        <p:spPr>
          <a:xfrm>
            <a:off x="515937" y="3752851"/>
            <a:ext cx="2947779" cy="2078037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8" name="Bildplatzhalter 5"/>
          <p:cNvSpPr>
            <a:spLocks noGrp="1"/>
          </p:cNvSpPr>
          <p:nvPr>
            <p:ph type="pic" sz="quarter" idx="18"/>
          </p:nvPr>
        </p:nvSpPr>
        <p:spPr>
          <a:xfrm>
            <a:off x="4622110" y="1484312"/>
            <a:ext cx="2947779" cy="2078037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1D1ABD7-86C5-4BD1-8941-39D4669A56C5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de-DE"/>
              <a:t>26.04.2023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AE51D17-459B-4AFF-AF4A-EF4F2627B077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nb-NO"/>
              <a:t>Susanne Hartlieb | TRUMPF SE + Co. KG</a:t>
            </a:r>
            <a:endParaRPr lang="en-US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A3B019D-0602-49E8-AD20-E41755CEA2C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8D57957C-F0F3-7842-B0E2-B762F92D6487}" type="slidenum">
              <a:rPr lang="en-US"/>
              <a:pPr/>
              <a:t>‹Nr.›</a:t>
            </a:fld>
            <a:r>
              <a:rPr lang="en-US"/>
              <a:t>  </a:t>
            </a:r>
            <a:r>
              <a:rPr lang="en-US" b="0">
                <a:solidFill>
                  <a:schemeClr val="accent1"/>
                </a:solidFill>
              </a:rPr>
              <a:t>|</a:t>
            </a:r>
            <a:endParaRPr lang="en-US" sz="900" b="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361332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083">
          <p15:clr>
            <a:srgbClr val="FBAE40"/>
          </p15:clr>
        </p15:guide>
        <p15:guide id="3" pos="5597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ilder ohn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03FE40-B22A-7341-B28C-28DFD29DF8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512763"/>
            <a:ext cx="11160125" cy="867600"/>
          </a:xfrm>
        </p:spPr>
        <p:txBody>
          <a:bodyPr/>
          <a:lstStyle>
            <a:lvl1pPr>
              <a:defRPr b="1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6"/>
          </p:nvPr>
        </p:nvSpPr>
        <p:spPr>
          <a:xfrm>
            <a:off x="515937" y="1484312"/>
            <a:ext cx="2947779" cy="2078037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4" name="Bildplatzhalter 5"/>
          <p:cNvSpPr>
            <a:spLocks noGrp="1"/>
          </p:cNvSpPr>
          <p:nvPr>
            <p:ph type="pic" sz="quarter" idx="17"/>
          </p:nvPr>
        </p:nvSpPr>
        <p:spPr>
          <a:xfrm>
            <a:off x="515937" y="3752851"/>
            <a:ext cx="2947779" cy="2078037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8" name="Bildplatzhalter 5"/>
          <p:cNvSpPr>
            <a:spLocks noGrp="1"/>
          </p:cNvSpPr>
          <p:nvPr>
            <p:ph type="pic" sz="quarter" idx="18"/>
          </p:nvPr>
        </p:nvSpPr>
        <p:spPr>
          <a:xfrm>
            <a:off x="4622110" y="1484312"/>
            <a:ext cx="2947779" cy="2078037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9" name="Bildplatzhalter 5"/>
          <p:cNvSpPr>
            <a:spLocks noGrp="1"/>
          </p:cNvSpPr>
          <p:nvPr>
            <p:ph type="pic" sz="quarter" idx="19"/>
          </p:nvPr>
        </p:nvSpPr>
        <p:spPr>
          <a:xfrm>
            <a:off x="4622110" y="3752851"/>
            <a:ext cx="2947779" cy="2078037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C562467-7D04-471D-8C85-F48D3BFB5CCE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26.04.2023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31A6CAE-FC0C-4B55-9F46-C2DC356BE035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nb-NO"/>
              <a:t>Susanne Hartlieb | TRUMPF SE + Co. KG</a:t>
            </a:r>
            <a:endParaRPr lang="en-US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8941F7D5-91EE-4ED1-AFAA-D6553346680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8D57957C-F0F3-7842-B0E2-B762F92D6487}" type="slidenum">
              <a:rPr lang="en-US"/>
              <a:pPr/>
              <a:t>‹Nr.›</a:t>
            </a:fld>
            <a:r>
              <a:rPr lang="en-US"/>
              <a:t>  </a:t>
            </a:r>
            <a:r>
              <a:rPr lang="en-US" b="0">
                <a:solidFill>
                  <a:schemeClr val="accent1"/>
                </a:solidFill>
              </a:rPr>
              <a:t>|</a:t>
            </a:r>
            <a:endParaRPr lang="en-US" sz="900" b="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3319980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083">
          <p15:clr>
            <a:srgbClr val="FBAE40"/>
          </p15:clr>
        </p15:guide>
        <p15:guide id="3" pos="5597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Bildplatzhalter 19"/>
          <p:cNvSpPr>
            <a:spLocks noGrp="1"/>
          </p:cNvSpPr>
          <p:nvPr>
            <p:ph type="pic" sz="quarter" idx="12"/>
          </p:nvPr>
        </p:nvSpPr>
        <p:spPr>
          <a:xfrm>
            <a:off x="300038" y="288925"/>
            <a:ext cx="11591925" cy="4714875"/>
          </a:xfrm>
          <a:custGeom>
            <a:avLst/>
            <a:gdLst>
              <a:gd name="connsiteX0" fmla="*/ 0 w 11591925"/>
              <a:gd name="connsiteY0" fmla="*/ 0 h 4714875"/>
              <a:gd name="connsiteX1" fmla="*/ 11591925 w 11591925"/>
              <a:gd name="connsiteY1" fmla="*/ 0 h 4714875"/>
              <a:gd name="connsiteX2" fmla="*/ 11591925 w 11591925"/>
              <a:gd name="connsiteY2" fmla="*/ 4714875 h 4714875"/>
              <a:gd name="connsiteX3" fmla="*/ 10655300 w 11591925"/>
              <a:gd name="connsiteY3" fmla="*/ 4714875 h 4714875"/>
              <a:gd name="connsiteX4" fmla="*/ 10655300 w 11591925"/>
              <a:gd name="connsiteY4" fmla="*/ 3402013 h 4714875"/>
              <a:gd name="connsiteX5" fmla="*/ 936625 w 11591925"/>
              <a:gd name="connsiteY5" fmla="*/ 3402013 h 4714875"/>
              <a:gd name="connsiteX6" fmla="*/ 936625 w 11591925"/>
              <a:gd name="connsiteY6" fmla="*/ 4714875 h 4714875"/>
              <a:gd name="connsiteX7" fmla="*/ 0 w 11591925"/>
              <a:gd name="connsiteY7" fmla="*/ 4714875 h 4714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591925" h="4714875">
                <a:moveTo>
                  <a:pt x="0" y="0"/>
                </a:moveTo>
                <a:lnTo>
                  <a:pt x="11591925" y="0"/>
                </a:lnTo>
                <a:lnTo>
                  <a:pt x="11591925" y="4714875"/>
                </a:lnTo>
                <a:lnTo>
                  <a:pt x="10655300" y="4714875"/>
                </a:lnTo>
                <a:lnTo>
                  <a:pt x="10655300" y="3402013"/>
                </a:lnTo>
                <a:lnTo>
                  <a:pt x="936625" y="3402013"/>
                </a:lnTo>
                <a:lnTo>
                  <a:pt x="936625" y="4714875"/>
                </a:lnTo>
                <a:lnTo>
                  <a:pt x="0" y="4714875"/>
                </a:lnTo>
                <a:close/>
              </a:path>
            </a:pathLst>
          </a:custGeom>
          <a:gradFill>
            <a:gsLst>
              <a:gs pos="50000">
                <a:schemeClr val="accent3"/>
              </a:gs>
              <a:gs pos="100000">
                <a:schemeClr val="accent4"/>
              </a:gs>
            </a:gsLst>
            <a:lin ang="0" scaled="0"/>
          </a:gradFill>
        </p:spPr>
        <p:txBody>
          <a:bodyPr vert="horz" lIns="0" tIns="0" rIns="0" bIns="0" rtlCol="0">
            <a:noAutofit/>
          </a:bodyPr>
          <a:lstStyle>
            <a:lvl1pPr>
              <a:defRPr lang="en-US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US"/>
          </a:p>
        </p:txBody>
      </p:sp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58926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 userDrawn="1"/>
        </p:nvSpPr>
        <p:spPr>
          <a:xfrm>
            <a:off x="1236000" y="3691467"/>
            <a:ext cx="9720000" cy="21577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dirty="0" err="1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EFD6C72-2063-AD48-9727-C4AB16A6DE1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36000" y="3821635"/>
            <a:ext cx="1005184" cy="215444"/>
          </a:xfrm>
          <a:noFill/>
        </p:spPr>
        <p:txBody>
          <a:bodyPr wrap="none" lIns="216000" tIns="0" rIns="0" bIns="0" anchor="ctr">
            <a:spAutoFit/>
          </a:bodyPr>
          <a:lstStyle>
            <a:lvl1pPr marL="0" indent="0" algn="l">
              <a:buNone/>
              <a:defRPr lang="de-DE" sz="14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77" indent="0" algn="ctr">
              <a:buNone/>
              <a:defRPr sz="2000"/>
            </a:lvl2pPr>
            <a:lvl3pPr marL="914355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3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7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97AA3D91-2715-1245-B649-15816B60CB0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36000" y="4068000"/>
            <a:ext cx="9504100" cy="1064355"/>
          </a:xfrm>
          <a:noFill/>
          <a:effectLst/>
        </p:spPr>
        <p:txBody>
          <a:bodyPr lIns="198000" tIns="0" rIns="0" anchor="b" anchorCtr="0">
            <a:noAutofit/>
          </a:bodyPr>
          <a:lstStyle>
            <a:lvl1pPr marL="0"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600" b="1" kern="1200" cap="none" baseline="0" dirty="0">
                <a:solidFill>
                  <a:schemeClr val="tx2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Überschrift</a:t>
            </a:r>
            <a:br>
              <a:rPr lang="de-DE" dirty="0"/>
            </a:br>
            <a:r>
              <a:rPr lang="de-DE" dirty="0"/>
              <a:t>in zwei Zeilen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507B9287-55AF-8048-9FEA-2A80D60D6670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179900" y="5849230"/>
            <a:ext cx="720000" cy="720000"/>
          </a:xfrm>
          <a:prstGeom prst="rect">
            <a:avLst/>
          </a:prstGeom>
        </p:spPr>
      </p:pic>
      <p:cxnSp>
        <p:nvCxnSpPr>
          <p:cNvPr id="9" name="Gerade Verbindung 8">
            <a:extLst>
              <a:ext uri="{FF2B5EF4-FFF2-40B4-BE49-F238E27FC236}">
                <a16:creationId xmlns:a16="http://schemas.microsoft.com/office/drawing/2014/main" id="{5D6BFDAA-1B23-B44C-B430-5B98D64133FF}"/>
              </a:ext>
            </a:extLst>
          </p:cNvPr>
          <p:cNvCxnSpPr>
            <a:cxnSpLocks/>
          </p:cNvCxnSpPr>
          <p:nvPr userDrawn="1"/>
        </p:nvCxnSpPr>
        <p:spPr>
          <a:xfrm>
            <a:off x="1451900" y="5390460"/>
            <a:ext cx="2577897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2C78C475-BA38-4A88-88A3-E8A79D86A45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1236000" y="5563622"/>
            <a:ext cx="4782950" cy="215444"/>
          </a:xfrm>
        </p:spPr>
        <p:txBody>
          <a:bodyPr lIns="216000" tIns="0" rIns="0" bIns="0"/>
          <a:lstStyle>
            <a:lvl1pPr>
              <a:spcBef>
                <a:spcPts val="600"/>
              </a:spcBef>
              <a:spcAft>
                <a:spcPts val="600"/>
              </a:spcAft>
              <a:defRPr sz="1400">
                <a:solidFill>
                  <a:schemeClr val="tx2"/>
                </a:solidFill>
              </a:defRPr>
            </a:lvl1pPr>
          </a:lstStyle>
          <a:p>
            <a:r>
              <a:rPr lang="nb-NO"/>
              <a:t>Susanne Hartlieb | TRUMPF SE + Co. K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87911683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Bilder ohn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03FE40-B22A-7341-B28C-28DFD29DF8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512763"/>
            <a:ext cx="11160125" cy="867600"/>
          </a:xfrm>
        </p:spPr>
        <p:txBody>
          <a:bodyPr/>
          <a:lstStyle>
            <a:lvl1pPr>
              <a:defRPr b="1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6"/>
          </p:nvPr>
        </p:nvSpPr>
        <p:spPr>
          <a:xfrm>
            <a:off x="515937" y="1484312"/>
            <a:ext cx="2947779" cy="2078037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4" name="Bildplatzhalter 5"/>
          <p:cNvSpPr>
            <a:spLocks noGrp="1"/>
          </p:cNvSpPr>
          <p:nvPr>
            <p:ph type="pic" sz="quarter" idx="17"/>
          </p:nvPr>
        </p:nvSpPr>
        <p:spPr>
          <a:xfrm>
            <a:off x="515937" y="3752851"/>
            <a:ext cx="2947779" cy="2078037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8" name="Bildplatzhalter 5"/>
          <p:cNvSpPr>
            <a:spLocks noGrp="1"/>
          </p:cNvSpPr>
          <p:nvPr>
            <p:ph type="pic" sz="quarter" idx="18"/>
          </p:nvPr>
        </p:nvSpPr>
        <p:spPr>
          <a:xfrm>
            <a:off x="4622110" y="1484312"/>
            <a:ext cx="2947779" cy="2078037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9" name="Bildplatzhalter 5"/>
          <p:cNvSpPr>
            <a:spLocks noGrp="1"/>
          </p:cNvSpPr>
          <p:nvPr>
            <p:ph type="pic" sz="quarter" idx="19"/>
          </p:nvPr>
        </p:nvSpPr>
        <p:spPr>
          <a:xfrm>
            <a:off x="4622110" y="3752851"/>
            <a:ext cx="2947779" cy="2078037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0" name="Bildplatzhalter 5"/>
          <p:cNvSpPr>
            <a:spLocks noGrp="1"/>
          </p:cNvSpPr>
          <p:nvPr>
            <p:ph type="pic" sz="quarter" idx="20"/>
          </p:nvPr>
        </p:nvSpPr>
        <p:spPr>
          <a:xfrm>
            <a:off x="8728284" y="1484312"/>
            <a:ext cx="2947779" cy="2078037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1F38755-1B90-4D37-BF79-46C9F566FA46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r>
              <a:rPr lang="de-DE"/>
              <a:t>26.04.2023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11B2334-22C4-4F66-9AC2-6C63D8D853CC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nb-NO"/>
              <a:t>Susanne Hartlieb | TRUMPF SE + Co. KG</a:t>
            </a:r>
            <a:endParaRPr lang="en-US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1A49AB3-8EF9-42C5-96A1-83AA1566DD2D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8D57957C-F0F3-7842-B0E2-B762F92D6487}" type="slidenum">
              <a:rPr lang="en-US"/>
              <a:pPr/>
              <a:t>‹Nr.›</a:t>
            </a:fld>
            <a:r>
              <a:rPr lang="en-US"/>
              <a:t>  </a:t>
            </a:r>
            <a:r>
              <a:rPr lang="en-US" b="0">
                <a:solidFill>
                  <a:schemeClr val="accent1"/>
                </a:solidFill>
              </a:rPr>
              <a:t>|</a:t>
            </a:r>
            <a:endParaRPr lang="en-US" sz="900" b="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9666078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083">
          <p15:clr>
            <a:srgbClr val="FBAE40"/>
          </p15:clr>
        </p15:guide>
        <p15:guide id="3" pos="5597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Bilder ohn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03FE40-B22A-7341-B28C-28DFD29DF8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512763"/>
            <a:ext cx="11160125" cy="867600"/>
          </a:xfrm>
        </p:spPr>
        <p:txBody>
          <a:bodyPr/>
          <a:lstStyle>
            <a:lvl1pPr>
              <a:defRPr b="1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6"/>
          </p:nvPr>
        </p:nvSpPr>
        <p:spPr>
          <a:xfrm>
            <a:off x="515937" y="1484312"/>
            <a:ext cx="2947779" cy="2078037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4" name="Bildplatzhalter 5"/>
          <p:cNvSpPr>
            <a:spLocks noGrp="1"/>
          </p:cNvSpPr>
          <p:nvPr>
            <p:ph type="pic" sz="quarter" idx="17"/>
          </p:nvPr>
        </p:nvSpPr>
        <p:spPr>
          <a:xfrm>
            <a:off x="515937" y="3752851"/>
            <a:ext cx="2947779" cy="2078037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8" name="Bildplatzhalter 5"/>
          <p:cNvSpPr>
            <a:spLocks noGrp="1"/>
          </p:cNvSpPr>
          <p:nvPr>
            <p:ph type="pic" sz="quarter" idx="18"/>
          </p:nvPr>
        </p:nvSpPr>
        <p:spPr>
          <a:xfrm>
            <a:off x="4622110" y="1484312"/>
            <a:ext cx="2947779" cy="2078037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9" name="Bildplatzhalter 5"/>
          <p:cNvSpPr>
            <a:spLocks noGrp="1"/>
          </p:cNvSpPr>
          <p:nvPr>
            <p:ph type="pic" sz="quarter" idx="19"/>
          </p:nvPr>
        </p:nvSpPr>
        <p:spPr>
          <a:xfrm>
            <a:off x="4622110" y="3752851"/>
            <a:ext cx="2947779" cy="2078037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0" name="Bildplatzhalter 5"/>
          <p:cNvSpPr>
            <a:spLocks noGrp="1"/>
          </p:cNvSpPr>
          <p:nvPr>
            <p:ph type="pic" sz="quarter" idx="20"/>
          </p:nvPr>
        </p:nvSpPr>
        <p:spPr>
          <a:xfrm>
            <a:off x="8728284" y="1484312"/>
            <a:ext cx="2947779" cy="2078037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1" name="Bildplatzhalter 5"/>
          <p:cNvSpPr>
            <a:spLocks noGrp="1"/>
          </p:cNvSpPr>
          <p:nvPr>
            <p:ph type="pic" sz="quarter" idx="21"/>
          </p:nvPr>
        </p:nvSpPr>
        <p:spPr>
          <a:xfrm>
            <a:off x="8728284" y="3752851"/>
            <a:ext cx="2947779" cy="2078037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C3A7E0D-EC4A-412E-941E-8556563AB57F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r>
              <a:rPr lang="de-DE"/>
              <a:t>26.04.2023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C342B8F-3565-48F8-A0A9-B8AF069805A0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nb-NO"/>
              <a:t>Susanne Hartlieb | TRUMPF SE + Co. KG</a:t>
            </a:r>
            <a:endParaRPr lang="en-US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652CDE13-93F8-4186-98C1-F5066334565A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8D57957C-F0F3-7842-B0E2-B762F92D6487}" type="slidenum">
              <a:rPr lang="en-US"/>
              <a:pPr/>
              <a:t>‹Nr.›</a:t>
            </a:fld>
            <a:r>
              <a:rPr lang="en-US"/>
              <a:t>  </a:t>
            </a:r>
            <a:r>
              <a:rPr lang="en-US" b="0">
                <a:solidFill>
                  <a:schemeClr val="accent1"/>
                </a:solidFill>
              </a:rPr>
              <a:t>|</a:t>
            </a:r>
            <a:endParaRPr lang="en-US" sz="900" b="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2337147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083">
          <p15:clr>
            <a:srgbClr val="FBAE40"/>
          </p15:clr>
        </p15:guide>
        <p15:guide id="3" pos="5597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66329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" imgW="353" imgH="353" progId="TCLayout.ActiveDocument.1">
                  <p:embed/>
                </p:oleObj>
              </mc:Choice>
              <mc:Fallback>
                <p:oleObj name="think-cell Folie" r:id="rId7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Bildplatzhalter 3">
            <a:extLst>
              <a:ext uri="{FF2B5EF4-FFF2-40B4-BE49-F238E27FC236}">
                <a16:creationId xmlns:a16="http://schemas.microsoft.com/office/drawing/2014/main" id="{0E881F02-8A23-9F4E-BA60-2291CDE38ED9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>
          <a:xfrm>
            <a:off x="298800" y="288000"/>
            <a:ext cx="11591925" cy="3420000"/>
          </a:xfrm>
          <a:gradFill>
            <a:gsLst>
              <a:gs pos="50000">
                <a:schemeClr val="accent3"/>
              </a:gs>
              <a:gs pos="100000">
                <a:schemeClr val="accent4"/>
              </a:gs>
            </a:gsLst>
            <a:lin ang="0" scaled="0"/>
          </a:gradFill>
        </p:spPr>
        <p:txBody>
          <a:bodyPr/>
          <a:lstStyle/>
          <a:p>
            <a:r>
              <a:rPr lang="de-DE" dirty="0"/>
              <a:t> 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507B9287-55AF-8048-9FEA-2A80D60D6670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11179900" y="5849230"/>
            <a:ext cx="720000" cy="720000"/>
          </a:xfrm>
          <a:prstGeom prst="rect">
            <a:avLst/>
          </a:prstGeom>
        </p:spPr>
      </p:pic>
      <p:cxnSp>
        <p:nvCxnSpPr>
          <p:cNvPr id="9" name="Gerade Verbindung 8">
            <a:extLst>
              <a:ext uri="{FF2B5EF4-FFF2-40B4-BE49-F238E27FC236}">
                <a16:creationId xmlns:a16="http://schemas.microsoft.com/office/drawing/2014/main" id="{5D6BFDAA-1B23-B44C-B430-5B98D64133FF}"/>
              </a:ext>
            </a:extLst>
          </p:cNvPr>
          <p:cNvCxnSpPr>
            <a:cxnSpLocks/>
          </p:cNvCxnSpPr>
          <p:nvPr userDrawn="1"/>
        </p:nvCxnSpPr>
        <p:spPr>
          <a:xfrm>
            <a:off x="515938" y="4229481"/>
            <a:ext cx="2577897" cy="0"/>
          </a:xfrm>
          <a:prstGeom prst="line">
            <a:avLst/>
          </a:prstGeom>
          <a:ln w="19050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Foliennummernplatzhalter 24">
            <a:extLst>
              <a:ext uri="{FF2B5EF4-FFF2-40B4-BE49-F238E27FC236}">
                <a16:creationId xmlns:a16="http://schemas.microsoft.com/office/drawing/2014/main" id="{D951FE6A-8A57-B649-98D5-DE3D06CAF8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57957C-F0F3-7842-B0E2-B762F92D6487}" type="slidenum">
              <a:rPr lang="de-DE"/>
              <a:pPr/>
              <a:t>‹Nr.›</a:t>
            </a:fld>
            <a:r>
              <a:rPr lang="de-DE"/>
              <a:t>  </a:t>
            </a:r>
            <a:r>
              <a:rPr lang="de-DE" b="0"/>
              <a:t>|</a:t>
            </a:r>
            <a:endParaRPr lang="de-DE" sz="900" b="0" dirty="0"/>
          </a:p>
        </p:txBody>
      </p:sp>
      <p:sp>
        <p:nvSpPr>
          <p:cNvPr id="14" name="Masterfeld E-Mail Adresse" hidden="1">
            <a:extLst>
              <a:ext uri="{FF2B5EF4-FFF2-40B4-BE49-F238E27FC236}">
                <a16:creationId xmlns:a16="http://schemas.microsoft.com/office/drawing/2014/main" id="{EBB21637-2AC6-40D3-8665-F25A47F007F3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15938" y="5128614"/>
            <a:ext cx="6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endParaRPr lang="en-US" sz="1600" dirty="0"/>
          </a:p>
        </p:txBody>
      </p:sp>
      <p:sp>
        <p:nvSpPr>
          <p:cNvPr id="12" name="Masterfeld Telefonnummer">
            <a:extLst>
              <a:ext uri="{FF2B5EF4-FFF2-40B4-BE49-F238E27FC236}">
                <a16:creationId xmlns:a16="http://schemas.microsoft.com/office/drawing/2014/main" id="{9101541F-59D1-4BD5-AD24-814023F042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15938" y="4885871"/>
            <a:ext cx="2701509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de-DE" sz="1600"/>
              <a:t>susanne.hartlieb@trumpf.com</a:t>
            </a:r>
            <a:endParaRPr lang="en-US" sz="1600" dirty="0"/>
          </a:p>
        </p:txBody>
      </p:sp>
      <p:sp>
        <p:nvSpPr>
          <p:cNvPr id="6" name="Masterfeld Abteilung">
            <a:extLst>
              <a:ext uri="{FF2B5EF4-FFF2-40B4-BE49-F238E27FC236}">
                <a16:creationId xmlns:a16="http://schemas.microsoft.com/office/drawing/2014/main" id="{348C4E9D-9EEE-43BD-8FB9-0AF649E9C92C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15938" y="4640264"/>
            <a:ext cx="1893724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600"/>
              <a:t>TRUMPF SE + Co. KG</a:t>
            </a:r>
            <a:endParaRPr lang="en-US" sz="1600" dirty="0"/>
          </a:p>
        </p:txBody>
      </p:sp>
      <p:sp>
        <p:nvSpPr>
          <p:cNvPr id="5" name="Masterfeld Name">
            <a:extLst>
              <a:ext uri="{FF2B5EF4-FFF2-40B4-BE49-F238E27FC236}">
                <a16:creationId xmlns:a16="http://schemas.microsoft.com/office/drawing/2014/main" id="{D53D78F5-6983-4445-80A2-08426FAA21E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15938" y="4366518"/>
            <a:ext cx="1848519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b="1">
                <a:solidFill>
                  <a:schemeClr val="tx2"/>
                </a:solidFill>
              </a:rPr>
              <a:t>Susanne Hartlieb</a:t>
            </a:r>
            <a:endParaRPr lang="en-US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7432465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15938" y="512763"/>
            <a:ext cx="11160125" cy="38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6" hasCustomPrompt="1"/>
          </p:nvPr>
        </p:nvSpPr>
        <p:spPr>
          <a:xfrm>
            <a:off x="515938" y="919611"/>
            <a:ext cx="11160000" cy="38779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800" b="0">
                <a:latin typeface="+mj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dirty="0" err="1"/>
              <a:t>Untertitel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3F498C25-70EC-4EBC-8771-2F9083E46FEE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de-DE"/>
              <a:t>26.04.2023</a:t>
            </a:r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6F8640CD-B4C1-44BD-9F77-925AD716932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nb-NO"/>
              <a:t>Susanne Hartlieb | TRUMPF SE + Co. KG</a:t>
            </a:r>
            <a:endParaRPr lang="en-US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74E4710C-E165-4781-B5E5-0EA9B8168C08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D57957C-F0F3-7842-B0E2-B762F92D6487}" type="slidenum">
              <a:rPr lang="en-US"/>
              <a:pPr/>
              <a:t>‹Nr.›</a:t>
            </a:fld>
            <a:r>
              <a:rPr lang="en-US"/>
              <a:t>  </a:t>
            </a:r>
            <a:r>
              <a:rPr lang="en-US" b="0">
                <a:solidFill>
                  <a:schemeClr val="accent1"/>
                </a:solidFill>
              </a:rPr>
              <a:t>|</a:t>
            </a:r>
            <a:endParaRPr lang="en-US" sz="900" b="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6604980"/>
      </p:ext>
    </p:extLst>
  </p:cSld>
  <p:clrMapOvr>
    <a:masterClrMapping/>
  </p:clrMapOvr>
  <p:hf hdr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03FE40-B22A-7341-B28C-28DFD29DF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512763"/>
            <a:ext cx="11160125" cy="387798"/>
          </a:xfrm>
        </p:spPr>
        <p:txBody>
          <a:bodyPr/>
          <a:lstStyle>
            <a:lvl1pPr>
              <a:defRPr b="1"/>
            </a:lvl1pPr>
          </a:lstStyle>
          <a:p>
            <a:r>
              <a:rPr lang="en-US" dirty="0"/>
              <a:t>Header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54A3B36-B0FE-C746-9087-319E2EDF7A1B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15938" y="1483200"/>
            <a:ext cx="11160125" cy="4345200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6" hasCustomPrompt="1"/>
          </p:nvPr>
        </p:nvSpPr>
        <p:spPr>
          <a:xfrm>
            <a:off x="515938" y="919611"/>
            <a:ext cx="11160000" cy="38779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800" b="0" smtClean="0">
                <a:latin typeface="+mj-lt"/>
                <a:ea typeface="+mj-ea"/>
              </a:defRPr>
            </a:lvl1pPr>
            <a:lvl2pPr>
              <a:defRPr lang="de-DE" b="0" smtClean="0"/>
            </a:lvl2pPr>
            <a:lvl3pPr>
              <a:defRPr lang="de-DE" b="0" smtClean="0"/>
            </a:lvl3pPr>
            <a:lvl4pPr>
              <a:defRPr lang="de-DE" b="0" smtClean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dirty="0"/>
              <a:t>Subhead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F82C4990-02CE-4F63-9250-FB7575E60E42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de-DE"/>
              <a:t>26.04.2023</a:t>
            </a:r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E6F42984-59CF-4B1B-8D0D-219AE221322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nb-NO"/>
              <a:t>Susanne Hartlieb | TRUMPF SE + Co. KG</a:t>
            </a:r>
            <a:endParaRPr lang="en-US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1375BF6A-7185-410D-923A-936CD8FBE94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D57957C-F0F3-7842-B0E2-B762F92D6487}" type="slidenum">
              <a:rPr lang="en-US" smtClean="0"/>
              <a:pPr/>
              <a:t>‹Nr.›</a:t>
            </a:fld>
            <a:r>
              <a:rPr lang="en-US"/>
              <a:t>  </a:t>
            </a:r>
            <a:r>
              <a:rPr lang="en-US" b="0">
                <a:solidFill>
                  <a:schemeClr val="accent1"/>
                </a:solidFill>
              </a:rPr>
              <a:t>|</a:t>
            </a:r>
            <a:endParaRPr lang="en-US" sz="900" b="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0482384"/>
      </p:ext>
    </p:extLst>
  </p:cSld>
  <p:clrMapOvr>
    <a:masterClrMapping/>
  </p:clrMapOvr>
  <p:hf hd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1"/>
          </p:nvPr>
        </p:nvSpPr>
        <p:spPr>
          <a:xfrm>
            <a:off x="3175" y="3175"/>
            <a:ext cx="12188825" cy="6808788"/>
          </a:xfrm>
          <a:gradFill>
            <a:gsLst>
              <a:gs pos="50000">
                <a:schemeClr val="accent3"/>
              </a:gs>
              <a:gs pos="100000">
                <a:schemeClr val="accent4"/>
              </a:gs>
            </a:gsLst>
            <a:lin ang="0" scaled="0"/>
          </a:gradFill>
        </p:spPr>
        <p:txBody>
          <a:bodyPr vert="horz" lIns="0" tIns="0" rIns="0" bIns="0" rtlCol="0">
            <a:noAutofit/>
          </a:bodyPr>
          <a:lstStyle>
            <a:lvl1pPr>
              <a:defRPr lang="en-US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US"/>
          </a:p>
        </p:txBody>
      </p:sp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52098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Untertitel 2">
            <a:extLst>
              <a:ext uri="{FF2B5EF4-FFF2-40B4-BE49-F238E27FC236}">
                <a16:creationId xmlns:a16="http://schemas.microsoft.com/office/drawing/2014/main" id="{1EFD6C72-2063-AD48-9727-C4AB16A6DE1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00038" y="3821635"/>
            <a:ext cx="1005184" cy="215444"/>
          </a:xfrm>
          <a:noFill/>
        </p:spPr>
        <p:txBody>
          <a:bodyPr wrap="none" lIns="216000" tIns="0" rIns="0" bIns="0" anchor="ctr">
            <a:spAutoFit/>
          </a:bodyPr>
          <a:lstStyle>
            <a:lvl1pPr marL="0" indent="0" algn="l">
              <a:buNone/>
              <a:defRPr lang="de-DE" sz="1400" b="0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177" indent="0" algn="ctr">
              <a:buNone/>
              <a:defRPr sz="2000"/>
            </a:lvl2pPr>
            <a:lvl3pPr marL="914355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3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7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97AA3D91-2715-1245-B649-15816B60CB0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00037" y="4068000"/>
            <a:ext cx="11376025" cy="1064355"/>
          </a:xfrm>
          <a:noFill/>
          <a:effectLst/>
        </p:spPr>
        <p:txBody>
          <a:bodyPr lIns="198000" tIns="0" rIns="0" anchor="b" anchorCtr="0">
            <a:noAutofit/>
          </a:bodyPr>
          <a:lstStyle>
            <a:lvl1pPr marL="0"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600" b="1" kern="1200" cap="none" baseline="0" dirty="0">
                <a:solidFill>
                  <a:schemeClr val="bg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Überschrift</a:t>
            </a:r>
            <a:br>
              <a:rPr lang="de-DE" dirty="0"/>
            </a:br>
            <a:r>
              <a:rPr lang="de-DE" dirty="0"/>
              <a:t>in zwei Zeilen</a:t>
            </a:r>
          </a:p>
        </p:txBody>
      </p:sp>
      <p:cxnSp>
        <p:nvCxnSpPr>
          <p:cNvPr id="9" name="Gerade Verbindung 8">
            <a:extLst>
              <a:ext uri="{FF2B5EF4-FFF2-40B4-BE49-F238E27FC236}">
                <a16:creationId xmlns:a16="http://schemas.microsoft.com/office/drawing/2014/main" id="{5D6BFDAA-1B23-B44C-B430-5B98D64133FF}"/>
              </a:ext>
            </a:extLst>
          </p:cNvPr>
          <p:cNvCxnSpPr>
            <a:cxnSpLocks/>
          </p:cNvCxnSpPr>
          <p:nvPr userDrawn="1"/>
        </p:nvCxnSpPr>
        <p:spPr>
          <a:xfrm>
            <a:off x="515938" y="5390460"/>
            <a:ext cx="2577897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uppieren 11"/>
          <p:cNvGrpSpPr/>
          <p:nvPr userDrawn="1"/>
        </p:nvGrpSpPr>
        <p:grpSpPr>
          <a:xfrm>
            <a:off x="11143231" y="5812561"/>
            <a:ext cx="793338" cy="793338"/>
            <a:chOff x="11143231" y="5812561"/>
            <a:chExt cx="793338" cy="793338"/>
          </a:xfrm>
        </p:grpSpPr>
        <p:sp>
          <p:nvSpPr>
            <p:cNvPr id="5" name="Rechteck 4"/>
            <p:cNvSpPr/>
            <p:nvPr userDrawn="1"/>
          </p:nvSpPr>
          <p:spPr>
            <a:xfrm>
              <a:off x="11143231" y="5812561"/>
              <a:ext cx="793338" cy="79333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/>
            </a:p>
          </p:txBody>
        </p:sp>
        <p:pic>
          <p:nvPicPr>
            <p:cNvPr id="8" name="Grafik 7">
              <a:extLst>
                <a:ext uri="{FF2B5EF4-FFF2-40B4-BE49-F238E27FC236}">
                  <a16:creationId xmlns:a16="http://schemas.microsoft.com/office/drawing/2014/main" id="{507B9287-55AF-8048-9FEA-2A80D60D667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11179900" y="5849230"/>
              <a:ext cx="720000" cy="720000"/>
            </a:xfrm>
            <a:prstGeom prst="rect">
              <a:avLst/>
            </a:prstGeom>
          </p:spPr>
        </p:pic>
      </p:grpSp>
      <p:sp>
        <p:nvSpPr>
          <p:cNvPr id="17" name="Fußzeilenplatzhalter 14">
            <a:extLst>
              <a:ext uri="{FF2B5EF4-FFF2-40B4-BE49-F238E27FC236}">
                <a16:creationId xmlns:a16="http://schemas.microsoft.com/office/drawing/2014/main" id="{211D6984-B81C-45FB-A0B7-F69EF03C3DD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300038" y="5563622"/>
            <a:ext cx="4782950" cy="215444"/>
          </a:xfrm>
        </p:spPr>
        <p:txBody>
          <a:bodyPr lIns="216000" tIns="0" rIns="0" bIns="0"/>
          <a:lstStyle>
            <a:lvl1pPr>
              <a:spcBef>
                <a:spcPts val="600"/>
              </a:spcBef>
              <a:spcAft>
                <a:spcPts val="600"/>
              </a:spcAft>
              <a:defRPr sz="1400">
                <a:solidFill>
                  <a:schemeClr val="bg1"/>
                </a:solidFill>
              </a:defRPr>
            </a:lvl1pPr>
          </a:lstStyle>
          <a:p>
            <a:r>
              <a:rPr lang="nb-NO"/>
              <a:t>Susanne Hartlieb | TRUMPF SE + Co. K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2851440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10268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Bildplatzhalter 3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5914800" cy="6858000"/>
          </a:xfrm>
          <a:gradFill>
            <a:gsLst>
              <a:gs pos="50000">
                <a:schemeClr val="accent3"/>
              </a:gs>
              <a:gs pos="100000">
                <a:schemeClr val="accent4"/>
              </a:gs>
            </a:gsLst>
            <a:lin ang="0" scaled="0"/>
          </a:gradFill>
        </p:spPr>
        <p:txBody>
          <a:bodyPr vert="horz" lIns="0" tIns="0" rIns="0" bIns="0" rtlCol="0">
            <a:noAutofit/>
          </a:bodyPr>
          <a:lstStyle>
            <a:lvl1pPr>
              <a:defRPr lang="de-DE" dirty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de-DE" dirty="0"/>
              <a:t>Bild durch Klicken auf das Icon einfüg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EFD6C72-2063-AD48-9727-C4AB16A6DE18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276063" y="1495948"/>
            <a:ext cx="1005184" cy="215444"/>
          </a:xfrm>
          <a:noFill/>
        </p:spPr>
        <p:txBody>
          <a:bodyPr wrap="none" lIns="216000" tIns="0" rIns="0" bIns="0" anchor="ctr">
            <a:spAutoFit/>
          </a:bodyPr>
          <a:lstStyle>
            <a:lvl1pPr marL="0" indent="0" algn="l">
              <a:buNone/>
              <a:defRPr lang="de-DE" sz="14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77" indent="0" algn="ctr">
              <a:buNone/>
              <a:defRPr sz="2000"/>
            </a:lvl2pPr>
            <a:lvl3pPr marL="914355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3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7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97AA3D91-2715-1245-B649-15816B60CB0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76063" y="2236457"/>
            <a:ext cx="5399999" cy="1064355"/>
          </a:xfrm>
          <a:noFill/>
          <a:effectLst/>
        </p:spPr>
        <p:txBody>
          <a:bodyPr lIns="198000" tIns="0" rIns="0" anchor="b" anchorCtr="0">
            <a:noAutofit/>
          </a:bodyPr>
          <a:lstStyle>
            <a:lvl1pPr marL="0"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600" b="1" kern="1200" dirty="0">
                <a:solidFill>
                  <a:schemeClr val="tx2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Überschrift</a:t>
            </a:r>
            <a:br>
              <a:rPr lang="de-DE" dirty="0"/>
            </a:br>
            <a:r>
              <a:rPr lang="de-DE" dirty="0"/>
              <a:t>in drei Zeilen </a:t>
            </a:r>
            <a:br>
              <a:rPr lang="de-DE" dirty="0"/>
            </a:br>
            <a:r>
              <a:rPr lang="de-DE" dirty="0"/>
              <a:t>möglich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507B9287-55AF-8048-9FEA-2A80D60D6670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179900" y="5849230"/>
            <a:ext cx="720000" cy="720000"/>
          </a:xfrm>
          <a:prstGeom prst="rect">
            <a:avLst/>
          </a:prstGeom>
        </p:spPr>
      </p:pic>
      <p:cxnSp>
        <p:nvCxnSpPr>
          <p:cNvPr id="9" name="Gerade Verbindung 8">
            <a:extLst>
              <a:ext uri="{FF2B5EF4-FFF2-40B4-BE49-F238E27FC236}">
                <a16:creationId xmlns:a16="http://schemas.microsoft.com/office/drawing/2014/main" id="{5D6BFDAA-1B23-B44C-B430-5B98D64133FF}"/>
              </a:ext>
            </a:extLst>
          </p:cNvPr>
          <p:cNvCxnSpPr>
            <a:cxnSpLocks/>
          </p:cNvCxnSpPr>
          <p:nvPr userDrawn="1"/>
        </p:nvCxnSpPr>
        <p:spPr>
          <a:xfrm>
            <a:off x="6491963" y="3560073"/>
            <a:ext cx="2577897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C637AFB-6BFF-4A85-9BE3-5535776DCF27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76063" y="3733235"/>
            <a:ext cx="4782950" cy="215444"/>
          </a:xfrm>
        </p:spPr>
        <p:txBody>
          <a:bodyPr lIns="216000" tIns="0" rIns="0" bIns="0"/>
          <a:lstStyle>
            <a:lvl1pPr>
              <a:spcBef>
                <a:spcPts val="600"/>
              </a:spcBef>
              <a:spcAft>
                <a:spcPts val="600"/>
              </a:spcAft>
              <a:defRPr sz="1400">
                <a:solidFill>
                  <a:schemeClr val="tx2"/>
                </a:solidFill>
              </a:defRPr>
            </a:lvl1pPr>
          </a:lstStyle>
          <a:p>
            <a:r>
              <a:rPr lang="nb-NO"/>
              <a:t>Susanne Hartlieb | TRUMPF SE + Co. K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245153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03FE40-B22A-7341-B28C-28DFD29DF8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54A3B36-B0FE-C746-9087-319E2EDF7A1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15938" y="1483200"/>
            <a:ext cx="11160125" cy="43452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F2A36B2-CB27-4C43-B5D5-CB711C55726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26.04.2023</a:t>
            </a:r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ADE960C-3FDD-4CC3-B301-431CFE63BCE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nb-NO"/>
              <a:t>Susanne Hartlieb | TRUMPF SE + Co. KG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D5CFED5-D3E5-4502-B51E-0924C97B76E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D57957C-F0F3-7842-B0E2-B762F92D6487}" type="slidenum">
              <a:rPr lang="de-DE"/>
              <a:pPr/>
              <a:t>‹Nr.›</a:t>
            </a:fld>
            <a:r>
              <a:rPr lang="de-DE"/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81662"/>
      </p:ext>
    </p:extLst>
  </p:cSld>
  <p:clrMapOvr>
    <a:masterClrMapping/>
  </p:clrMapOvr>
  <p:hf hd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03FE40-B22A-7341-B28C-28DFD29DF8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512763"/>
            <a:ext cx="11160125" cy="387798"/>
          </a:xfrm>
        </p:spPr>
        <p:txBody>
          <a:bodyPr/>
          <a:lstStyle>
            <a:lvl1pPr>
              <a:defRPr b="1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54A3B36-B0FE-C746-9087-319E2EDF7A1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15938" y="1483200"/>
            <a:ext cx="11160125" cy="43452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6" hasCustomPrompt="1"/>
          </p:nvPr>
        </p:nvSpPr>
        <p:spPr>
          <a:xfrm>
            <a:off x="515938" y="919611"/>
            <a:ext cx="11160000" cy="38779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800" b="0">
                <a:latin typeface="+mj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bearbeit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DF10217D-63D4-4BE3-BC31-6B908627107C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de-DE"/>
              <a:t>26.04.2023</a:t>
            </a:r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18659443-98E3-4803-BD68-009ACCC3C4C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nb-NO"/>
              <a:t>Susanne Hartlieb | TRUMPF SE + Co. KG</a:t>
            </a:r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DDEEA445-4E59-4E3A-8A3A-E10C2F627CD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D57957C-F0F3-7842-B0E2-B762F92D6487}" type="slidenum">
              <a:rPr lang="de-DE"/>
              <a:pPr/>
              <a:t>‹Nr.›</a:t>
            </a:fld>
            <a:r>
              <a:rPr lang="de-DE"/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3008253"/>
      </p:ext>
    </p:extLst>
  </p:cSld>
  <p:clrMapOvr>
    <a:masterClrMapping/>
  </p:clrMapOvr>
  <p:hf hd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8"/>
          <p:cNvSpPr>
            <a:spLocks noGrp="1"/>
          </p:cNvSpPr>
          <p:nvPr>
            <p:ph type="body" sz="quarter" idx="17"/>
          </p:nvPr>
        </p:nvSpPr>
        <p:spPr>
          <a:xfrm>
            <a:off x="515938" y="1484313"/>
            <a:ext cx="11160125" cy="3921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B03FE40-B22A-7341-B28C-28DFD29DF8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54A3B36-B0FE-C746-9087-319E2EDF7A1B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15938" y="2024669"/>
            <a:ext cx="11160125" cy="380373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/>
            </a:lvl2pPr>
            <a:lvl5pPr>
              <a:defRPr/>
            </a:lvl5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cxnSp>
        <p:nvCxnSpPr>
          <p:cNvPr id="7" name="Gerade Verbindung 6">
            <a:extLst>
              <a:ext uri="{FF2B5EF4-FFF2-40B4-BE49-F238E27FC236}">
                <a16:creationId xmlns:a16="http://schemas.microsoft.com/office/drawing/2014/main" id="{F27AA4C9-56AC-ED4E-8F1B-08836D5E3AAF}"/>
              </a:ext>
            </a:extLst>
          </p:cNvPr>
          <p:cNvCxnSpPr>
            <a:cxnSpLocks/>
          </p:cNvCxnSpPr>
          <p:nvPr userDrawn="1"/>
        </p:nvCxnSpPr>
        <p:spPr>
          <a:xfrm>
            <a:off x="515938" y="1875600"/>
            <a:ext cx="2577897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4EF4EB6-98EC-4DC0-9B52-9B7E20B6CB47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r>
              <a:rPr lang="de-DE"/>
              <a:t>26.04.2023</a:t>
            </a:r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A5963BE-0BBE-44FF-8B06-67F00E65B0B9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nb-NO"/>
              <a:t>Susanne Hartlieb | TRUMPF SE + Co. KG</a:t>
            </a:r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467D51A2-BAD0-46D4-BDC9-F3F2DBEBDA8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8D57957C-F0F3-7842-B0E2-B762F92D6487}" type="slidenum">
              <a:rPr lang="de-DE"/>
              <a:pPr/>
              <a:t>‹Nr.›</a:t>
            </a:fld>
            <a:r>
              <a:rPr lang="de-DE"/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4004726"/>
      </p:ext>
    </p:extLst>
  </p:cSld>
  <p:clrMapOvr>
    <a:masterClrMapping/>
  </p:clrMapOvr>
  <p:hf hd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Überschrift und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8"/>
          </p:nvPr>
        </p:nvSpPr>
        <p:spPr>
          <a:xfrm>
            <a:off x="515938" y="1484313"/>
            <a:ext cx="11160125" cy="39052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B03FE40-B22A-7341-B28C-28DFD29DF8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512763"/>
            <a:ext cx="11160125" cy="38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54A3B36-B0FE-C746-9087-319E2EDF7A1B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15938" y="2024670"/>
            <a:ext cx="11160125" cy="380373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/>
            </a:lvl2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cxnSp>
        <p:nvCxnSpPr>
          <p:cNvPr id="7" name="Gerade Verbindung 6">
            <a:extLst>
              <a:ext uri="{FF2B5EF4-FFF2-40B4-BE49-F238E27FC236}">
                <a16:creationId xmlns:a16="http://schemas.microsoft.com/office/drawing/2014/main" id="{F27AA4C9-56AC-ED4E-8F1B-08836D5E3AAF}"/>
              </a:ext>
            </a:extLst>
          </p:cNvPr>
          <p:cNvCxnSpPr>
            <a:cxnSpLocks/>
          </p:cNvCxnSpPr>
          <p:nvPr userDrawn="1"/>
        </p:nvCxnSpPr>
        <p:spPr>
          <a:xfrm>
            <a:off x="515938" y="1875600"/>
            <a:ext cx="2577897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Fußzeilenplatzhalter 25">
            <a:extLst>
              <a:ext uri="{FF2B5EF4-FFF2-40B4-BE49-F238E27FC236}">
                <a16:creationId xmlns:a16="http://schemas.microsoft.com/office/drawing/2014/main" id="{0FC06A4C-9433-5342-AA89-31784E1C805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nb-NO"/>
              <a:t>Susanne Hartlieb | TRUMPF SE + Co. KG</a:t>
            </a:r>
            <a:endParaRPr lang="de-DE" dirty="0"/>
          </a:p>
        </p:txBody>
      </p:sp>
      <p:sp>
        <p:nvSpPr>
          <p:cNvPr id="27" name="Foliennummernplatzhalter 26">
            <a:extLst>
              <a:ext uri="{FF2B5EF4-FFF2-40B4-BE49-F238E27FC236}">
                <a16:creationId xmlns:a16="http://schemas.microsoft.com/office/drawing/2014/main" id="{7ED9046E-DA49-2F47-BC4A-7852B5A1D83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D57957C-F0F3-7842-B0E2-B762F92D6487}" type="slidenum">
              <a:rPr lang="de-DE"/>
              <a:pPr/>
              <a:t>‹Nr.›</a:t>
            </a:fld>
            <a:r>
              <a:rPr lang="de-DE"/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8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15938" y="919611"/>
            <a:ext cx="11160000" cy="38779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800" b="0">
                <a:latin typeface="+mj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0EEB925-07DF-4482-97BE-FA3B95518D29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de-DE"/>
              <a:t>26.04.2023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682616"/>
      </p:ext>
    </p:extLst>
  </p:cSld>
  <p:clrMapOvr>
    <a:masterClrMapping/>
  </p:clrMapOvr>
  <p:hf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D57957C-F0F3-7842-B0E2-B762F92D6487}" type="slidenum">
              <a:rPr lang="de-DE"/>
              <a:pPr/>
              <a:t>‹Nr.›</a:t>
            </a:fld>
            <a:r>
              <a:rPr lang="de-DE"/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Susanne Hartlieb | TRUMPF SE + Co. KG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BCA88A41-2E12-4F27-A399-FC543CFDEDD6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de-DE"/>
              <a:t>26.04.2023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25675485"/>
      </p:ext>
    </p:extLst>
  </p:cSld>
  <p:clrMapOvr>
    <a:masterClrMapping/>
  </p:clrMapOvr>
  <p:hf hdr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4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2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3.x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3390169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9" imgW="353" imgH="353" progId="TCLayout.ActiveDocument.1">
                  <p:embed/>
                </p:oleObj>
              </mc:Choice>
              <mc:Fallback>
                <p:oleObj name="think-cell Folie" r:id="rId29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7EE5D475-DF19-4144-995E-F7C3970B86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512763"/>
            <a:ext cx="11160125" cy="8683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3A34782-E3A2-CF42-9904-29EE5398AD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5938" y="1483200"/>
            <a:ext cx="11160125" cy="434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sz="1600" b="0" i="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Sechste Ebene</a:t>
            </a:r>
          </a:p>
          <a:p>
            <a:pPr lvl="6"/>
            <a:r>
              <a:rPr lang="de-DE" b="0" i="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Siebte Ebene</a:t>
            </a:r>
          </a:p>
          <a:p>
            <a:pPr lvl="7"/>
            <a:r>
              <a:rPr lang="de-DE" b="0" i="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Achte Ebene</a:t>
            </a:r>
          </a:p>
          <a:p>
            <a:pPr lvl="8"/>
            <a:r>
              <a:rPr lang="de-DE" b="0" i="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Neunte Eben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F3E9BB6-5D8A-8147-AD61-F2C10BA132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534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/>
              <a:pPr/>
              <a:t>‹Nr.›</a:t>
            </a:fld>
            <a:r>
              <a:rPr lang="de-DE" dirty="0"/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BC850553-F986-E441-A5BD-871CFC0817DE}"/>
              </a:ext>
            </a:extLst>
          </p:cNvPr>
          <p:cNvPicPr>
            <a:picLocks noChangeAspect="1"/>
          </p:cNvPicPr>
          <p:nvPr userDrawn="1"/>
        </p:nvPicPr>
        <p:blipFill>
          <a:blip r:embed="rId31"/>
          <a:stretch>
            <a:fillRect/>
          </a:stretch>
        </p:blipFill>
        <p:spPr>
          <a:xfrm>
            <a:off x="11459963" y="6137318"/>
            <a:ext cx="432000" cy="432000"/>
          </a:xfrm>
          <a:prstGeom prst="rect">
            <a:avLst/>
          </a:prstGeo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983328E-748D-3F4E-9827-CEDBAE65A3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89897" y="6356349"/>
            <a:ext cx="2743200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cs typeface="Arial" panose="020B0604020202020204" pitchFamily="34" charset="0"/>
              </a:defRPr>
            </a:lvl1pPr>
          </a:lstStyle>
          <a:p>
            <a:r>
              <a:rPr lang="nb-NO"/>
              <a:t>Susanne Hartlieb | TRUMPF SE + Co. KG</a:t>
            </a:r>
            <a:endParaRPr lang="de-DE" dirty="0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9DB09A8C-0A47-46B9-974A-D9A1F4E4F2A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745430" y="6356349"/>
            <a:ext cx="1808141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1000">
                <a:solidFill>
                  <a:schemeClr val="accent1"/>
                </a:solidFill>
              </a:defRPr>
            </a:lvl1pPr>
          </a:lstStyle>
          <a:p>
            <a:r>
              <a:rPr lang="de-DE"/>
              <a:t>26.04.2023</a:t>
            </a:r>
            <a:endParaRPr lang="de-DE" dirty="0"/>
          </a:p>
        </p:txBody>
      </p:sp>
      <p:sp>
        <p:nvSpPr>
          <p:cNvPr id="12" name="Vertraulichkeit">
            <a:extLst>
              <a:ext uri="{FF2B5EF4-FFF2-40B4-BE49-F238E27FC236}">
                <a16:creationId xmlns:a16="http://schemas.microsoft.com/office/drawing/2014/main" id="{0E366F92-F00E-4DBF-99FD-D0E58A0EFF4D}"/>
              </a:ext>
            </a:extLst>
          </p:cNvPr>
          <p:cNvSpPr>
            <a:spLocks/>
          </p:cNvSpPr>
          <p:nvPr userDrawn="1">
            <p:custDataLst>
              <p:tags r:id="rId27"/>
            </p:custDataLst>
          </p:nvPr>
        </p:nvSpPr>
        <p:spPr>
          <a:xfrm>
            <a:off x="8708231" y="6437161"/>
            <a:ext cx="1422793" cy="153888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marL="0" lvl="0" indent="-180000" algn="l">
              <a:buFont typeface="Wingdings" panose="05000000000000000000" pitchFamily="2" charset="2"/>
              <a:buChar char=""/>
            </a:pPr>
            <a:r>
              <a:rPr lang="de-DE" sz="1000" b="0" dirty="0">
                <a:solidFill>
                  <a:schemeClr val="accent1"/>
                </a:solidFill>
                <a:cs typeface="Arial" panose="020B0604020202020204" pitchFamily="34" charset="0"/>
              </a:rPr>
              <a:t>Vertraulich</a:t>
            </a:r>
          </a:p>
        </p:txBody>
      </p:sp>
      <p:sp>
        <p:nvSpPr>
          <p:cNvPr id="8" name="empower - DO NOT DELETE!!!" hidden="1">
            <a:extLst>
              <a:ext uri="{FF2B5EF4-FFF2-40B4-BE49-F238E27FC236}">
                <a16:creationId xmlns:a16="http://schemas.microsoft.com/office/drawing/2014/main" id="{3B045111-8DB6-4E89-8ACE-F9267DF8EF55}"/>
              </a:ext>
            </a:extLst>
          </p:cNvPr>
          <p:cNvSpPr/>
          <p:nvPr userDrawn="1">
            <p:custDataLst>
              <p:tags r:id="rId28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dirty="0" err="1"/>
          </a:p>
        </p:txBody>
      </p:sp>
    </p:spTree>
    <p:extLst>
      <p:ext uri="{BB962C8B-B14F-4D97-AF65-F5344CB8AC3E}">
        <p14:creationId xmlns:p14="http://schemas.microsoft.com/office/powerpoint/2010/main" val="37979822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63" r:id="rId2"/>
    <p:sldLayoutId id="2147483669" r:id="rId3"/>
    <p:sldLayoutId id="2147483685" r:id="rId4"/>
    <p:sldLayoutId id="2147483654" r:id="rId5"/>
    <p:sldLayoutId id="2147483677" r:id="rId6"/>
    <p:sldLayoutId id="2147483675" r:id="rId7"/>
    <p:sldLayoutId id="2147483680" r:id="rId8"/>
    <p:sldLayoutId id="2147483678" r:id="rId9"/>
    <p:sldLayoutId id="2147483681" r:id="rId10"/>
    <p:sldLayoutId id="2147483679" r:id="rId11"/>
    <p:sldLayoutId id="2147483686" r:id="rId12"/>
    <p:sldLayoutId id="2147483687" r:id="rId13"/>
    <p:sldLayoutId id="2147483688" r:id="rId14"/>
    <p:sldLayoutId id="2147483689" r:id="rId15"/>
    <p:sldLayoutId id="2147483690" r:id="rId16"/>
    <p:sldLayoutId id="2147483691" r:id="rId17"/>
    <p:sldLayoutId id="2147483692" r:id="rId18"/>
    <p:sldLayoutId id="2147483693" r:id="rId19"/>
    <p:sldLayoutId id="2147483694" r:id="rId20"/>
    <p:sldLayoutId id="2147483695" r:id="rId21"/>
    <p:sldLayoutId id="2147483666" r:id="rId22"/>
    <p:sldLayoutId id="2147483696" r:id="rId23"/>
    <p:sldLayoutId id="2147483697" r:id="rId24"/>
  </p:sldLayoutIdLst>
  <p:hf hdr="0"/>
  <p:txStyles>
    <p:titleStyle>
      <a:lvl1pPr algn="l" defTabSz="914355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914355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600" b="1" kern="1200">
          <a:solidFill>
            <a:schemeClr val="tx2"/>
          </a:solidFill>
          <a:latin typeface="+mn-lt"/>
          <a:ea typeface="+mn-ea"/>
          <a:cs typeface="Arial" panose="020B0604020202020204" pitchFamily="34" charset="0"/>
        </a:defRPr>
      </a:lvl1pPr>
      <a:lvl2pPr marL="0" indent="0" algn="l" defTabSz="914355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accent1"/>
        </a:buClr>
        <a:buFont typeface="Wingdings" pitchFamily="2" charset="2"/>
        <a:buNone/>
        <a:defRPr sz="1600" b="0" i="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216000" indent="-216000" algn="l" defTabSz="914355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Font typeface="Wingdings" pitchFamily="2" charset="2"/>
        <a:buChar char="§"/>
        <a:defRPr sz="1600" b="0" i="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432000" indent="-216000" algn="l" defTabSz="914355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Font typeface="Wingdings" pitchFamily="2" charset="2"/>
        <a:buChar char="§"/>
        <a:defRPr sz="1600" b="0" i="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648000" indent="-216000" algn="l" defTabSz="914355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Font typeface="Wingdings" pitchFamily="2" charset="2"/>
        <a:buChar char="§"/>
        <a:defRPr sz="1600" b="0" i="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864000" indent="-216000" algn="l" defTabSz="914355" rtl="0" eaLnBrk="1" latinLnBrk="0" hangingPunct="1">
        <a:lnSpc>
          <a:spcPct val="90000"/>
        </a:lnSpc>
        <a:spcBef>
          <a:spcPts val="600"/>
        </a:spcBef>
        <a:buClr>
          <a:schemeClr val="tx2"/>
        </a:buClr>
        <a:buFont typeface="Wingdings" pitchFamily="2" charset="2"/>
        <a:buChar char="§"/>
        <a:defRPr lang="de-DE" sz="1600" b="0" i="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0000" indent="-216000" algn="l" defTabSz="914355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296000" indent="-216000" algn="l" defTabSz="914355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1512000" indent="-216000" algn="l" defTabSz="914355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5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3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7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2" userDrawn="1">
          <p15:clr>
            <a:srgbClr val="F26B43"/>
          </p15:clr>
        </p15:guide>
        <p15:guide id="2" pos="325" userDrawn="1">
          <p15:clr>
            <a:srgbClr val="F26B43"/>
          </p15:clr>
        </p15:guide>
        <p15:guide id="3" orient="horz" pos="4133" userDrawn="1">
          <p15:clr>
            <a:srgbClr val="F26B43"/>
          </p15:clr>
        </p15:guide>
        <p15:guide id="4" pos="7491" userDrawn="1">
          <p15:clr>
            <a:srgbClr val="F26B43"/>
          </p15:clr>
        </p15:guide>
        <p15:guide id="6" pos="189" userDrawn="1">
          <p15:clr>
            <a:srgbClr val="F26B43"/>
          </p15:clr>
        </p15:guide>
        <p15:guide id="7" orient="horz" pos="323" userDrawn="1">
          <p15:clr>
            <a:srgbClr val="F26B43"/>
          </p15:clr>
        </p15:guide>
        <p15:guide id="8" orient="horz" pos="3997" userDrawn="1">
          <p15:clr>
            <a:srgbClr val="F26B43"/>
          </p15:clr>
        </p15:guide>
        <p15:guide id="9" pos="7355" userDrawn="1">
          <p15:clr>
            <a:srgbClr val="F26B43"/>
          </p15:clr>
        </p15:guide>
        <p15:guide id="10" orient="horz" pos="935" userDrawn="1">
          <p15:clr>
            <a:srgbClr val="F26B43"/>
          </p15:clr>
        </p15:guide>
        <p15:guide id="12" orient="horz" pos="367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13" Type="http://schemas.openxmlformats.org/officeDocument/2006/relationships/image" Target="../media/image10.png"/><Relationship Id="rId18" Type="http://schemas.openxmlformats.org/officeDocument/2006/relationships/image" Target="../media/image15.svg"/><Relationship Id="rId3" Type="http://schemas.openxmlformats.org/officeDocument/2006/relationships/chart" Target="../charts/chart1.xml"/><Relationship Id="rId7" Type="http://schemas.openxmlformats.org/officeDocument/2006/relationships/diagramColors" Target="../diagrams/colors1.xml"/><Relationship Id="rId12" Type="http://schemas.openxmlformats.org/officeDocument/2006/relationships/image" Target="../media/image9.svg"/><Relationship Id="rId17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13.svg"/><Relationship Id="rId1" Type="http://schemas.openxmlformats.org/officeDocument/2006/relationships/slideLayout" Target="../slideLayouts/slideLayout24.xml"/><Relationship Id="rId6" Type="http://schemas.openxmlformats.org/officeDocument/2006/relationships/diagramQuickStyle" Target="../diagrams/quickStyle1.xml"/><Relationship Id="rId11" Type="http://schemas.openxmlformats.org/officeDocument/2006/relationships/image" Target="../media/image8.png"/><Relationship Id="rId5" Type="http://schemas.openxmlformats.org/officeDocument/2006/relationships/diagramLayout" Target="../diagrams/layout1.xml"/><Relationship Id="rId15" Type="http://schemas.openxmlformats.org/officeDocument/2006/relationships/image" Target="../media/image12.png"/><Relationship Id="rId10" Type="http://schemas.openxmlformats.org/officeDocument/2006/relationships/image" Target="../media/image7.svg"/><Relationship Id="rId19" Type="http://schemas.openxmlformats.org/officeDocument/2006/relationships/chart" Target="../charts/chart2.xml"/><Relationship Id="rId4" Type="http://schemas.openxmlformats.org/officeDocument/2006/relationships/diagramData" Target="../diagrams/data1.xml"/><Relationship Id="rId9" Type="http://schemas.openxmlformats.org/officeDocument/2006/relationships/image" Target="../media/image6.png"/><Relationship Id="rId14" Type="http://schemas.openxmlformats.org/officeDocument/2006/relationships/image" Target="../media/image11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eg"/><Relationship Id="rId13" Type="http://schemas.openxmlformats.org/officeDocument/2006/relationships/image" Target="../media/image25.jpeg"/><Relationship Id="rId3" Type="http://schemas.openxmlformats.org/officeDocument/2006/relationships/chart" Target="../charts/chart3.xml"/><Relationship Id="rId7" Type="http://schemas.openxmlformats.org/officeDocument/2006/relationships/image" Target="../media/image19.jpeg"/><Relationship Id="rId12" Type="http://schemas.openxmlformats.org/officeDocument/2006/relationships/image" Target="../media/image2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8.jpeg"/><Relationship Id="rId11" Type="http://schemas.openxmlformats.org/officeDocument/2006/relationships/image" Target="../media/image23.png"/><Relationship Id="rId5" Type="http://schemas.openxmlformats.org/officeDocument/2006/relationships/image" Target="../media/image17.jpeg"/><Relationship Id="rId10" Type="http://schemas.openxmlformats.org/officeDocument/2006/relationships/image" Target="../media/image22.jpeg"/><Relationship Id="rId4" Type="http://schemas.openxmlformats.org/officeDocument/2006/relationships/image" Target="../media/image16.jpeg"/><Relationship Id="rId9" Type="http://schemas.openxmlformats.org/officeDocument/2006/relationships/image" Target="../media/image21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3" Type="http://schemas.openxmlformats.org/officeDocument/2006/relationships/tags" Target="../tags/tag18.xml"/><Relationship Id="rId7" Type="http://schemas.openxmlformats.org/officeDocument/2006/relationships/image" Target="../media/image17.jpe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16.jpeg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19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eg"/><Relationship Id="rId3" Type="http://schemas.openxmlformats.org/officeDocument/2006/relationships/tags" Target="../tags/tag21.xml"/><Relationship Id="rId7" Type="http://schemas.openxmlformats.org/officeDocument/2006/relationships/image" Target="../media/image21.png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20.jpeg"/><Relationship Id="rId5" Type="http://schemas.openxmlformats.org/officeDocument/2006/relationships/notesSlide" Target="../notesSlides/notesSlide6.xml"/><Relationship Id="rId10" Type="http://schemas.openxmlformats.org/officeDocument/2006/relationships/image" Target="../media/image27.svg"/><Relationship Id="rId4" Type="http://schemas.openxmlformats.org/officeDocument/2006/relationships/slideLayout" Target="../slideLayouts/slideLayout23.xml"/><Relationship Id="rId9" Type="http://schemas.openxmlformats.org/officeDocument/2006/relationships/image" Target="../media/image2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98DF8654-973C-4858-942C-9E98DE0415C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0038" y="3821635"/>
            <a:ext cx="1351946" cy="215444"/>
          </a:xfrm>
        </p:spPr>
        <p:txBody>
          <a:bodyPr/>
          <a:lstStyle/>
          <a:p>
            <a:r>
              <a:rPr lang="de-DE" dirty="0"/>
              <a:t>Lean Lernreis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BE73BC0-C76D-41AE-8790-1746CD3812D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sz="2800" dirty="0"/>
              <a:t>Eine Fabrik mit Zukunft -</a:t>
            </a:r>
            <a:br>
              <a:rPr lang="de-DE" sz="2800" dirty="0"/>
            </a:br>
            <a:r>
              <a:rPr lang="de-DE" sz="2800" dirty="0"/>
              <a:t>TRUMPF Klimastrategi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E4C8AC-AF05-411B-A16B-F7075CD7153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nb-NO"/>
              <a:t>Susanne Hartlieb | TRUMPF SE + Co. KG</a:t>
            </a:r>
            <a:endParaRPr lang="de-DE" dirty="0"/>
          </a:p>
        </p:txBody>
      </p:sp>
      <p:pic>
        <p:nvPicPr>
          <p:cNvPr id="6" name="Bildplatzhalter 6">
            <a:extLst>
              <a:ext uri="{FF2B5EF4-FFF2-40B4-BE49-F238E27FC236}">
                <a16:creationId xmlns:a16="http://schemas.microsoft.com/office/drawing/2014/main" id="{5B8B008E-E12C-FC32-1C0C-4462F111F59C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3"/>
          <a:srcRect t="22767" b="22767"/>
          <a:stretch>
            <a:fillRect/>
          </a:stretch>
        </p:blipFill>
        <p:spPr>
          <a:xfrm>
            <a:off x="300038" y="298694"/>
            <a:ext cx="11590337" cy="3419475"/>
          </a:xfrm>
        </p:spPr>
      </p:pic>
    </p:spTree>
    <p:extLst>
      <p:ext uri="{BB962C8B-B14F-4D97-AF65-F5344CB8AC3E}">
        <p14:creationId xmlns:p14="http://schemas.microsoft.com/office/powerpoint/2010/main" val="34012712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>
            <a:extLst>
              <a:ext uri="{FF2B5EF4-FFF2-40B4-BE49-F238E27FC236}">
                <a16:creationId xmlns:a16="http://schemas.microsoft.com/office/drawing/2014/main" id="{CB68C708-451A-F34E-03C8-4EB2466FD00B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646711" y="1807270"/>
            <a:ext cx="3722679" cy="394305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lIns="216000" tIns="144000">
            <a:noAutofit/>
          </a:bodyPr>
          <a:lstStyle>
            <a:lvl1pPr marL="216000" indent="-216000" algn="l" defTabSz="914355" rtl="0" eaLnBrk="1" latinLnBrk="0" hangingPunct="1">
              <a:buClr>
                <a:schemeClr val="tx2"/>
              </a:buClr>
              <a:buFont typeface="Wingdings" pitchFamily="2" charset="2"/>
              <a:buChar char="§"/>
            </a:lvl1pPr>
            <a:lvl2pPr marL="216000" indent="-216000" algn="l" defTabSz="914355" rtl="0" eaLnBrk="1" latinLnBrk="0" hangingPunct="1">
              <a:buClr>
                <a:schemeClr val="tx2"/>
              </a:buClr>
              <a:buFont typeface="Wingdings" pitchFamily="2" charset="2"/>
              <a:buChar char="§"/>
            </a:lvl2pPr>
            <a:lvl3pPr marL="216000" indent="-216000" algn="l" defTabSz="914355" rtl="0" eaLnBrk="1" latinLnBrk="0" hangingPunct="1">
              <a:buClr>
                <a:schemeClr val="tx2"/>
              </a:buClr>
              <a:buFont typeface="Wingdings" pitchFamily="2" charset="2"/>
              <a:buChar char="§"/>
            </a:lvl3pPr>
            <a:lvl4pPr marL="432000" indent="-216000" algn="l" defTabSz="914355" rtl="0" eaLnBrk="1" latinLnBrk="0" hangingPunct="1">
              <a:buClr>
                <a:schemeClr val="tx2"/>
              </a:buClr>
              <a:buFont typeface="Wingdings" pitchFamily="2" charset="2"/>
              <a:buChar char="§"/>
            </a:lvl4pPr>
            <a:lvl5pPr marL="648000" indent="-216000" algn="l" defTabSz="914355" rtl="0" eaLnBrk="1" latinLnBrk="0" hangingPunct="1">
              <a:buClr>
                <a:schemeClr val="tx2"/>
              </a:buClr>
              <a:buFont typeface="Wingdings" pitchFamily="2" charset="2"/>
              <a:buChar char="§"/>
            </a:lvl5pPr>
            <a:lvl6pPr marL="864000" indent="-216000" algn="l" defTabSz="914355" rtl="0" eaLnBrk="1" latinLnBrk="0" hangingPunct="1">
              <a:buClr>
                <a:schemeClr val="tx2"/>
              </a:buClr>
              <a:buFont typeface="Wingdings" pitchFamily="2" charset="2"/>
              <a:buChar char="§"/>
            </a:lvl6pPr>
            <a:lvl7pPr marL="1080000" indent="-216000" algn="l" defTabSz="914355" rtl="0" eaLnBrk="1" latinLnBrk="0" hangingPunct="1">
              <a:buClr>
                <a:schemeClr val="tx2"/>
              </a:buClr>
              <a:buFont typeface="Wingdings" panose="05000000000000000000" pitchFamily="2" charset="2"/>
              <a:buChar char="§"/>
            </a:lvl7pPr>
            <a:lvl8pPr marL="1296000" indent="-216000" algn="l" defTabSz="914355" rtl="0" eaLnBrk="1" latinLnBrk="0" hangingPunct="1">
              <a:buClr>
                <a:schemeClr val="tx2"/>
              </a:buClr>
              <a:buFont typeface="Wingdings" panose="05000000000000000000" pitchFamily="2" charset="2"/>
              <a:buChar char="§"/>
            </a:lvl8pPr>
            <a:lvl9pPr marL="1512000" indent="-216000" algn="l" defTabSz="914355" rtl="0" eaLnBrk="1" latinLnBrk="0" hangingPunct="1">
              <a:buClr>
                <a:schemeClr val="tx2"/>
              </a:buClr>
              <a:buFont typeface="Wingdings" panose="05000000000000000000" pitchFamily="2" charset="2"/>
              <a:buChar char="§"/>
            </a:lvl9pPr>
          </a:lstStyle>
          <a:p>
            <a:pPr marL="0" indent="0">
              <a:buNone/>
            </a:pPr>
            <a:endParaRPr lang="de-DE" sz="1600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5D527A63-D81B-2DBC-0637-7D47AD5C2C41}"/>
              </a:ext>
            </a:extLst>
          </p:cNvPr>
          <p:cNvSpPr/>
          <p:nvPr/>
        </p:nvSpPr>
        <p:spPr>
          <a:xfrm>
            <a:off x="8553571" y="4015816"/>
            <a:ext cx="2702033" cy="1474383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dirty="0" err="1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B5C68093-20FF-4004-F341-F8BFF71DAF10}"/>
              </a:ext>
            </a:extLst>
          </p:cNvPr>
          <p:cNvSpPr/>
          <p:nvPr/>
        </p:nvSpPr>
        <p:spPr>
          <a:xfrm>
            <a:off x="8536288" y="2443112"/>
            <a:ext cx="2702033" cy="1474383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dirty="0" err="1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45AC490-1BB9-4A12-A890-1C35FCF976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RUMPF Klimastrateg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5274B95-185D-466D-A566-4B3557A93CB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/>
              <a:t>…bündelt seit 2020 die Klimaschutzaktivitäten der TRUMPF Gruppe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31FA548-AB89-4ADC-B309-DDA19F5BC9F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nb-NO"/>
              <a:t>Susanne Hartlieb | TRUMPF SE + Co. KG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0A3ADF6-5B91-41A1-BF93-3A7B1E516534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D57957C-F0F3-7842-B0E2-B762F92D6487}" type="slidenum">
              <a:rPr lang="de-DE" smtClean="0"/>
              <a:pPr/>
              <a:t>2</a:t>
            </a:fld>
            <a:r>
              <a:rPr lang="de-DE" dirty="0"/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3" name="Pfeil: nach rechts 2">
            <a:extLst>
              <a:ext uri="{FF2B5EF4-FFF2-40B4-BE49-F238E27FC236}">
                <a16:creationId xmlns:a16="http://schemas.microsoft.com/office/drawing/2014/main" id="{CBF126A9-7180-0CDA-F2D9-3EEA724A8952}"/>
              </a:ext>
            </a:extLst>
          </p:cNvPr>
          <p:cNvSpPr/>
          <p:nvPr/>
        </p:nvSpPr>
        <p:spPr>
          <a:xfrm>
            <a:off x="488227" y="1807268"/>
            <a:ext cx="3937999" cy="1264887"/>
          </a:xfrm>
          <a:prstGeom prst="rightArrow">
            <a:avLst>
              <a:gd name="adj1" fmla="val 100000"/>
              <a:gd name="adj2" fmla="val 32573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dirty="0" err="1"/>
          </a:p>
        </p:txBody>
      </p:sp>
      <p:sp>
        <p:nvSpPr>
          <p:cNvPr id="18" name="Pfeil: nach rechts 17">
            <a:extLst>
              <a:ext uri="{FF2B5EF4-FFF2-40B4-BE49-F238E27FC236}">
                <a16:creationId xmlns:a16="http://schemas.microsoft.com/office/drawing/2014/main" id="{DB837A37-57E3-896D-97F1-1F7370A1389C}"/>
              </a:ext>
            </a:extLst>
          </p:cNvPr>
          <p:cNvSpPr/>
          <p:nvPr/>
        </p:nvSpPr>
        <p:spPr>
          <a:xfrm>
            <a:off x="488227" y="3146355"/>
            <a:ext cx="3937999" cy="1264887"/>
          </a:xfrm>
          <a:prstGeom prst="rightArrow">
            <a:avLst>
              <a:gd name="adj1" fmla="val 100000"/>
              <a:gd name="adj2" fmla="val 32573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dirty="0" err="1"/>
          </a:p>
        </p:txBody>
      </p:sp>
      <p:sp>
        <p:nvSpPr>
          <p:cNvPr id="20" name="Pfeil: nach rechts 19">
            <a:extLst>
              <a:ext uri="{FF2B5EF4-FFF2-40B4-BE49-F238E27FC236}">
                <a16:creationId xmlns:a16="http://schemas.microsoft.com/office/drawing/2014/main" id="{2C341388-8905-B4CD-33E9-FF2431EEED95}"/>
              </a:ext>
            </a:extLst>
          </p:cNvPr>
          <p:cNvSpPr/>
          <p:nvPr/>
        </p:nvSpPr>
        <p:spPr>
          <a:xfrm>
            <a:off x="488227" y="4485441"/>
            <a:ext cx="3937999" cy="1264887"/>
          </a:xfrm>
          <a:prstGeom prst="rightArrow">
            <a:avLst>
              <a:gd name="adj1" fmla="val 100000"/>
              <a:gd name="adj2" fmla="val 3192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dirty="0" err="1"/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ADC86EAC-EF3A-62F8-63F4-5BA08340FF54}"/>
              </a:ext>
            </a:extLst>
          </p:cNvPr>
          <p:cNvSpPr txBox="1"/>
          <p:nvPr/>
        </p:nvSpPr>
        <p:spPr>
          <a:xfrm>
            <a:off x="583103" y="1962849"/>
            <a:ext cx="3262993" cy="9848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b="1" dirty="0"/>
              <a:t>Eigener Anspruch</a:t>
            </a:r>
          </a:p>
          <a:p>
            <a:pPr marL="179388" indent="-179388"/>
            <a:endParaRPr lang="de-DE" sz="800" dirty="0"/>
          </a:p>
          <a:p>
            <a:pPr marL="179388" indent="-179388">
              <a:buFontTx/>
              <a:buChar char="-"/>
            </a:pPr>
            <a:r>
              <a:rPr lang="de-DE" sz="1600" dirty="0"/>
              <a:t>Strategisches Handlungsfeld „Nachhaltigkeit“</a:t>
            </a:r>
          </a:p>
        </p:txBody>
      </p:sp>
      <p:pic>
        <p:nvPicPr>
          <p:cNvPr id="24" name="Grafik 23">
            <a:extLst>
              <a:ext uri="{FF2B5EF4-FFF2-40B4-BE49-F238E27FC236}">
                <a16:creationId xmlns:a16="http://schemas.microsoft.com/office/drawing/2014/main" id="{089CAE44-CE55-8C6E-231C-61A64E921EB9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905585" y="2986956"/>
            <a:ext cx="1429793" cy="658181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B41827FC-E456-B9A8-8EBA-CEBB633495D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879482" y="4497048"/>
            <a:ext cx="1670275" cy="883451"/>
          </a:xfrm>
          <a:prstGeom prst="rect">
            <a:avLst/>
          </a:prstGeom>
        </p:spPr>
      </p:pic>
      <p:sp>
        <p:nvSpPr>
          <p:cNvPr id="26" name="Textfeld 25">
            <a:extLst>
              <a:ext uri="{FF2B5EF4-FFF2-40B4-BE49-F238E27FC236}">
                <a16:creationId xmlns:a16="http://schemas.microsoft.com/office/drawing/2014/main" id="{BF084601-341C-BF47-BC4E-420895FA96B5}"/>
              </a:ext>
            </a:extLst>
          </p:cNvPr>
          <p:cNvSpPr txBox="1"/>
          <p:nvPr/>
        </p:nvSpPr>
        <p:spPr>
          <a:xfrm>
            <a:off x="583104" y="3320215"/>
            <a:ext cx="3262992" cy="9848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b="1" dirty="0"/>
              <a:t>Kundenanforderungen</a:t>
            </a:r>
          </a:p>
          <a:p>
            <a:endParaRPr lang="de-DE" sz="800" dirty="0"/>
          </a:p>
          <a:p>
            <a:pPr marL="179388" indent="-179388">
              <a:buFontTx/>
              <a:buChar char="-"/>
            </a:pPr>
            <a:r>
              <a:rPr lang="de-DE" sz="1600" dirty="0"/>
              <a:t>Nachhaltigkeit als Auswahl-kriterium oder Mindeststandard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94865079-17A4-B8A0-1853-7D092F8D3404}"/>
              </a:ext>
            </a:extLst>
          </p:cNvPr>
          <p:cNvSpPr txBox="1"/>
          <p:nvPr/>
        </p:nvSpPr>
        <p:spPr>
          <a:xfrm>
            <a:off x="583103" y="4796693"/>
            <a:ext cx="366907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b="1" dirty="0"/>
              <a:t>Regulatorische +</a:t>
            </a:r>
          </a:p>
          <a:p>
            <a:r>
              <a:rPr lang="de-DE" b="1" dirty="0"/>
              <a:t>gesellschaftliche Änderungen</a:t>
            </a: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F3A27B2B-AEA7-DEB3-EF15-B8771D15B3BA}"/>
              </a:ext>
            </a:extLst>
          </p:cNvPr>
          <p:cNvSpPr txBox="1"/>
          <p:nvPr/>
        </p:nvSpPr>
        <p:spPr>
          <a:xfrm>
            <a:off x="8908923" y="2546032"/>
            <a:ext cx="889411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de-DE" b="1" dirty="0">
                <a:solidFill>
                  <a:schemeClr val="tx2"/>
                </a:solidFill>
              </a:rPr>
              <a:t>Zielpfad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2B8C3759-F775-24AC-508B-E72237D4527A}"/>
              </a:ext>
            </a:extLst>
          </p:cNvPr>
          <p:cNvSpPr txBox="1"/>
          <p:nvPr/>
        </p:nvSpPr>
        <p:spPr>
          <a:xfrm>
            <a:off x="8871295" y="4087102"/>
            <a:ext cx="2004203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b="1" dirty="0">
                <a:solidFill>
                  <a:schemeClr val="tx2"/>
                </a:solidFill>
              </a:rPr>
              <a:t>Fortschrittsbericht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B780DDCA-46E7-A9F8-6375-9DCC7962D37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656843" y="1807270"/>
            <a:ext cx="3431356" cy="394305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lIns="216000" tIns="144000">
            <a:noAutofit/>
          </a:bodyPr>
          <a:lstStyle>
            <a:lvl1pPr marL="216000" indent="-216000" algn="l" defTabSz="914355" rtl="0" eaLnBrk="1" latinLnBrk="0" hangingPunct="1">
              <a:buClr>
                <a:schemeClr val="tx2"/>
              </a:buClr>
              <a:buFont typeface="Wingdings" pitchFamily="2" charset="2"/>
              <a:buChar char="§"/>
            </a:lvl1pPr>
            <a:lvl2pPr marL="216000" indent="-216000" algn="l" defTabSz="914355" rtl="0" eaLnBrk="1" latinLnBrk="0" hangingPunct="1">
              <a:buClr>
                <a:schemeClr val="tx2"/>
              </a:buClr>
              <a:buFont typeface="Wingdings" pitchFamily="2" charset="2"/>
              <a:buChar char="§"/>
            </a:lvl2pPr>
            <a:lvl3pPr marL="216000" indent="-216000" algn="l" defTabSz="914355" rtl="0" eaLnBrk="1" latinLnBrk="0" hangingPunct="1">
              <a:buClr>
                <a:schemeClr val="tx2"/>
              </a:buClr>
              <a:buFont typeface="Wingdings" pitchFamily="2" charset="2"/>
              <a:buChar char="§"/>
            </a:lvl3pPr>
            <a:lvl4pPr marL="432000" indent="-216000" algn="l" defTabSz="914355" rtl="0" eaLnBrk="1" latinLnBrk="0" hangingPunct="1">
              <a:buClr>
                <a:schemeClr val="tx2"/>
              </a:buClr>
              <a:buFont typeface="Wingdings" pitchFamily="2" charset="2"/>
              <a:buChar char="§"/>
            </a:lvl4pPr>
            <a:lvl5pPr marL="648000" indent="-216000" algn="l" defTabSz="914355" rtl="0" eaLnBrk="1" latinLnBrk="0" hangingPunct="1">
              <a:buClr>
                <a:schemeClr val="tx2"/>
              </a:buClr>
              <a:buFont typeface="Wingdings" pitchFamily="2" charset="2"/>
              <a:buChar char="§"/>
            </a:lvl5pPr>
            <a:lvl6pPr marL="864000" indent="-216000" algn="l" defTabSz="914355" rtl="0" eaLnBrk="1" latinLnBrk="0" hangingPunct="1">
              <a:buClr>
                <a:schemeClr val="tx2"/>
              </a:buClr>
              <a:buFont typeface="Wingdings" pitchFamily="2" charset="2"/>
              <a:buChar char="§"/>
            </a:lvl6pPr>
            <a:lvl7pPr marL="1080000" indent="-216000" algn="l" defTabSz="914355" rtl="0" eaLnBrk="1" latinLnBrk="0" hangingPunct="1">
              <a:buClr>
                <a:schemeClr val="tx2"/>
              </a:buClr>
              <a:buFont typeface="Wingdings" panose="05000000000000000000" pitchFamily="2" charset="2"/>
              <a:buChar char="§"/>
            </a:lvl7pPr>
            <a:lvl8pPr marL="1296000" indent="-216000" algn="l" defTabSz="914355" rtl="0" eaLnBrk="1" latinLnBrk="0" hangingPunct="1">
              <a:buClr>
                <a:schemeClr val="tx2"/>
              </a:buClr>
              <a:buFont typeface="Wingdings" panose="05000000000000000000" pitchFamily="2" charset="2"/>
              <a:buChar char="§"/>
            </a:lvl8pPr>
            <a:lvl9pPr marL="1512000" indent="-216000" algn="l" defTabSz="914355" rtl="0" eaLnBrk="1" latinLnBrk="0" hangingPunct="1">
              <a:buClr>
                <a:schemeClr val="tx2"/>
              </a:buClr>
              <a:buFont typeface="Wingdings" panose="05000000000000000000" pitchFamily="2" charset="2"/>
              <a:buChar char="§"/>
            </a:lvl9pPr>
          </a:lstStyle>
          <a:p>
            <a:pPr marL="0" indent="0">
              <a:buNone/>
            </a:pPr>
            <a:r>
              <a:rPr lang="de-DE" b="1" dirty="0">
                <a:solidFill>
                  <a:schemeClr val="tx2"/>
                </a:solidFill>
              </a:rPr>
              <a:t>Klimastrategie bis 2030</a:t>
            </a:r>
          </a:p>
          <a:p>
            <a:pPr marL="0" indent="0">
              <a:buNone/>
            </a:pPr>
            <a:endParaRPr lang="de-DE" sz="1400" dirty="0"/>
          </a:p>
          <a:p>
            <a:pPr>
              <a:buNone/>
            </a:pPr>
            <a:endParaRPr lang="de-DE" sz="600" dirty="0"/>
          </a:p>
          <a:p>
            <a:pPr>
              <a:spcAft>
                <a:spcPts val="600"/>
              </a:spcAft>
            </a:pPr>
            <a:r>
              <a:rPr lang="de-DE" sz="1600" dirty="0"/>
              <a:t>Ambitionierter Fahrplan für alle TRUMPF Aktivitäten</a:t>
            </a:r>
          </a:p>
          <a:p>
            <a:pPr>
              <a:spcAft>
                <a:spcPts val="600"/>
              </a:spcAft>
            </a:pPr>
            <a:endParaRPr lang="de-DE" sz="800" dirty="0"/>
          </a:p>
          <a:p>
            <a:pPr>
              <a:spcAft>
                <a:spcPts val="600"/>
              </a:spcAft>
            </a:pPr>
            <a:r>
              <a:rPr lang="de-DE" sz="1600" kern="0" spc="19" dirty="0"/>
              <a:t>zur Reduktion der Emissionen an den Standorten und in der Wertschöpfungskette</a:t>
            </a:r>
            <a:endParaRPr lang="de-DE" sz="1600" dirty="0"/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208625DE-632A-B3F0-8908-C91FC5BB09D2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de-DE"/>
              <a:t>26.04.2023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547380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6" name="Diagramm 65">
            <a:extLst>
              <a:ext uri="{FF2B5EF4-FFF2-40B4-BE49-F238E27FC236}">
                <a16:creationId xmlns:a16="http://schemas.microsoft.com/office/drawing/2014/main" id="{FC95303C-8033-F22E-9A28-437706D15B7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4282180"/>
              </p:ext>
            </p:extLst>
          </p:nvPr>
        </p:nvGraphicFramePr>
        <p:xfrm>
          <a:off x="8212689" y="1874697"/>
          <a:ext cx="4202504" cy="43278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0F6630A-9173-40D9-A5BD-F5CD3F4E78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chritt 1 – CO</a:t>
            </a:r>
            <a:r>
              <a:rPr lang="de-DE" baseline="-25000" dirty="0"/>
              <a:t>2</a:t>
            </a:r>
            <a:r>
              <a:rPr lang="de-DE" dirty="0"/>
              <a:t>-Emissionen bilanzier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EF0F5DE-C408-48C9-8289-C7C26F18163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/>
              <a:t>Wieviel Emissionen verursacht die TRUMPF Gruppe?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2E2207F-8E36-42F0-90AE-3AB9FEBCE44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nb-NO"/>
              <a:t>Susanne Hartlieb | TRUMPF SE + Co. KG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AAE78E7B-99D9-4352-8458-3B3DD3292A0C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D57957C-F0F3-7842-B0E2-B762F92D6487}" type="slidenum">
              <a:rPr lang="de-DE" smtClean="0"/>
              <a:pPr/>
              <a:t>3</a:t>
            </a:fld>
            <a:r>
              <a:rPr lang="de-DE" dirty="0"/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AFF1A0BF-8B3E-4C9F-A0D2-DDEA1C075F44}"/>
              </a:ext>
            </a:extLst>
          </p:cNvPr>
          <p:cNvGrpSpPr>
            <a:grpSpLocks noChangeAspect="1"/>
          </p:cNvGrpSpPr>
          <p:nvPr/>
        </p:nvGrpSpPr>
        <p:grpSpPr>
          <a:xfrm>
            <a:off x="-616827" y="2210816"/>
            <a:ext cx="5691681" cy="3791534"/>
            <a:chOff x="-972519" y="1478576"/>
            <a:chExt cx="7068457" cy="4708677"/>
          </a:xfrm>
        </p:grpSpPr>
        <p:graphicFrame>
          <p:nvGraphicFramePr>
            <p:cNvPr id="20" name="Diagramm 19">
              <a:extLst>
                <a:ext uri="{FF2B5EF4-FFF2-40B4-BE49-F238E27FC236}">
                  <a16:creationId xmlns:a16="http://schemas.microsoft.com/office/drawing/2014/main" id="{531D7D89-E947-4B0E-8BF5-305E29B59A97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2365567429"/>
                </p:ext>
              </p:extLst>
            </p:nvPr>
          </p:nvGraphicFramePr>
          <p:xfrm>
            <a:off x="-972519" y="1478576"/>
            <a:ext cx="7068457" cy="4708677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4" r:lo="rId5" r:qs="rId6" r:cs="rId7"/>
            </a:graphicData>
          </a:graphic>
        </p:graphicFrame>
        <p:pic>
          <p:nvPicPr>
            <p:cNvPr id="21" name="Grafik 20" descr="Fabrik">
              <a:extLst>
                <a:ext uri="{FF2B5EF4-FFF2-40B4-BE49-F238E27FC236}">
                  <a16:creationId xmlns:a16="http://schemas.microsoft.com/office/drawing/2014/main" id="{BEB7B243-8188-4FA3-A4E2-4377BD8DF66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2292434" y="2951161"/>
              <a:ext cx="469905" cy="469905"/>
            </a:xfrm>
            <a:prstGeom prst="rect">
              <a:avLst/>
            </a:prstGeom>
          </p:spPr>
        </p:pic>
        <p:pic>
          <p:nvPicPr>
            <p:cNvPr id="22" name="Grafik 21" descr="Glühbirne">
              <a:extLst>
                <a:ext uri="{FF2B5EF4-FFF2-40B4-BE49-F238E27FC236}">
                  <a16:creationId xmlns:a16="http://schemas.microsoft.com/office/drawing/2014/main" id="{96E26F85-642E-443A-A6AC-A155798A4E25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3229991" y="3444451"/>
              <a:ext cx="469905" cy="469905"/>
            </a:xfrm>
            <a:prstGeom prst="rect">
              <a:avLst/>
            </a:prstGeom>
          </p:spPr>
        </p:pic>
        <p:pic>
          <p:nvPicPr>
            <p:cNvPr id="23" name="Grafik 22" descr="Flugzeug">
              <a:extLst>
                <a:ext uri="{FF2B5EF4-FFF2-40B4-BE49-F238E27FC236}">
                  <a16:creationId xmlns:a16="http://schemas.microsoft.com/office/drawing/2014/main" id="{25FF1331-D6EF-4FCB-B154-B0FFB6E9FFB2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3666294" y="4856288"/>
              <a:ext cx="469905" cy="469905"/>
            </a:xfrm>
            <a:prstGeom prst="rect">
              <a:avLst/>
            </a:prstGeom>
          </p:spPr>
        </p:pic>
        <p:pic>
          <p:nvPicPr>
            <p:cNvPr id="24" name="Grafik 23" descr="Fabrik">
              <a:extLst>
                <a:ext uri="{FF2B5EF4-FFF2-40B4-BE49-F238E27FC236}">
                  <a16:creationId xmlns:a16="http://schemas.microsoft.com/office/drawing/2014/main" id="{9FC4BAD5-49D2-4BBB-B83B-641C353B125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2371764" y="5716712"/>
              <a:ext cx="469906" cy="469906"/>
            </a:xfrm>
            <a:prstGeom prst="rect">
              <a:avLst/>
            </a:prstGeom>
          </p:spPr>
        </p:pic>
        <p:pic>
          <p:nvPicPr>
            <p:cNvPr id="25" name="Grafik 24" descr="Schlepper">
              <a:extLst>
                <a:ext uri="{FF2B5EF4-FFF2-40B4-BE49-F238E27FC236}">
                  <a16:creationId xmlns:a16="http://schemas.microsoft.com/office/drawing/2014/main" id="{859D4296-F0A7-4F53-A219-A359DD8C80CC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1042471" y="4793397"/>
              <a:ext cx="457200" cy="457200"/>
            </a:xfrm>
            <a:prstGeom prst="rect">
              <a:avLst/>
            </a:prstGeom>
          </p:spPr>
        </p:pic>
        <p:pic>
          <p:nvPicPr>
            <p:cNvPr id="26" name="Grafik 25" descr="Blitzschlag">
              <a:extLst>
                <a:ext uri="{FF2B5EF4-FFF2-40B4-BE49-F238E27FC236}">
                  <a16:creationId xmlns:a16="http://schemas.microsoft.com/office/drawing/2014/main" id="{BD9A1C8B-59ED-44E4-B5B5-DF5ACBE2CE67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1462195" y="3438703"/>
              <a:ext cx="457200" cy="457200"/>
            </a:xfrm>
            <a:prstGeom prst="rect">
              <a:avLst/>
            </a:prstGeom>
          </p:spPr>
        </p:pic>
        <p:sp>
          <p:nvSpPr>
            <p:cNvPr id="27" name="Textfeld 26">
              <a:extLst>
                <a:ext uri="{FF2B5EF4-FFF2-40B4-BE49-F238E27FC236}">
                  <a16:creationId xmlns:a16="http://schemas.microsoft.com/office/drawing/2014/main" id="{461674B5-4655-4DBD-9312-7DE4E1858172}"/>
                </a:ext>
              </a:extLst>
            </p:cNvPr>
            <p:cNvSpPr txBox="1"/>
            <p:nvPr/>
          </p:nvSpPr>
          <p:spPr>
            <a:xfrm>
              <a:off x="1900764" y="2106077"/>
              <a:ext cx="1321892" cy="34400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b="1" dirty="0" err="1">
                  <a:solidFill>
                    <a:schemeClr val="accent1"/>
                  </a:solidFill>
                </a:rPr>
                <a:t>Scope</a:t>
              </a:r>
              <a:r>
                <a:rPr lang="de-DE" b="1" dirty="0">
                  <a:solidFill>
                    <a:schemeClr val="accent1"/>
                  </a:solidFill>
                </a:rPr>
                <a:t> 1</a:t>
              </a:r>
            </a:p>
          </p:txBody>
        </p:sp>
        <p:sp>
          <p:nvSpPr>
            <p:cNvPr id="28" name="Textfeld 27">
              <a:extLst>
                <a:ext uri="{FF2B5EF4-FFF2-40B4-BE49-F238E27FC236}">
                  <a16:creationId xmlns:a16="http://schemas.microsoft.com/office/drawing/2014/main" id="{7E2FA933-2D36-4AE6-936C-8DF726EF0D9C}"/>
                </a:ext>
              </a:extLst>
            </p:cNvPr>
            <p:cNvSpPr txBox="1"/>
            <p:nvPr/>
          </p:nvSpPr>
          <p:spPr>
            <a:xfrm>
              <a:off x="1900764" y="3618653"/>
              <a:ext cx="1321892" cy="34400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b="1" dirty="0" err="1">
                  <a:solidFill>
                    <a:schemeClr val="accent1"/>
                  </a:solidFill>
                </a:rPr>
                <a:t>Scope</a:t>
              </a:r>
              <a:r>
                <a:rPr lang="de-DE" b="1" dirty="0">
                  <a:solidFill>
                    <a:schemeClr val="accent1"/>
                  </a:solidFill>
                </a:rPr>
                <a:t> 2</a:t>
              </a:r>
            </a:p>
          </p:txBody>
        </p:sp>
        <p:sp>
          <p:nvSpPr>
            <p:cNvPr id="29" name="Textfeld 28">
              <a:extLst>
                <a:ext uri="{FF2B5EF4-FFF2-40B4-BE49-F238E27FC236}">
                  <a16:creationId xmlns:a16="http://schemas.microsoft.com/office/drawing/2014/main" id="{4DB0FA78-199D-4FF7-A82A-FA193F2C372B}"/>
                </a:ext>
              </a:extLst>
            </p:cNvPr>
            <p:cNvSpPr txBox="1"/>
            <p:nvPr/>
          </p:nvSpPr>
          <p:spPr>
            <a:xfrm>
              <a:off x="1900764" y="4862828"/>
              <a:ext cx="1321892" cy="34400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b="1" dirty="0" err="1">
                  <a:solidFill>
                    <a:schemeClr val="bg1"/>
                  </a:solidFill>
                </a:rPr>
                <a:t>Scope</a:t>
              </a:r>
              <a:r>
                <a:rPr lang="de-DE" b="1" dirty="0">
                  <a:solidFill>
                    <a:schemeClr val="bg1"/>
                  </a:solidFill>
                </a:rPr>
                <a:t> 3</a:t>
              </a:r>
            </a:p>
          </p:txBody>
        </p:sp>
        <p:sp>
          <p:nvSpPr>
            <p:cNvPr id="30" name="Textfeld 29">
              <a:extLst>
                <a:ext uri="{FF2B5EF4-FFF2-40B4-BE49-F238E27FC236}">
                  <a16:creationId xmlns:a16="http://schemas.microsoft.com/office/drawing/2014/main" id="{C7249D9F-C8C6-4B9F-96A3-B763BD2B2338}"/>
                </a:ext>
              </a:extLst>
            </p:cNvPr>
            <p:cNvSpPr txBox="1"/>
            <p:nvPr/>
          </p:nvSpPr>
          <p:spPr>
            <a:xfrm>
              <a:off x="1509397" y="2528972"/>
              <a:ext cx="2104624" cy="48160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de-DE" sz="1400" dirty="0">
                  <a:solidFill>
                    <a:schemeClr val="accent1"/>
                  </a:solidFill>
                  <a:latin typeface="Segoe UI" panose="020B0502040204020203" pitchFamily="34" charset="0"/>
                </a:rPr>
                <a:t>Direkte</a:t>
              </a:r>
            </a:p>
            <a:p>
              <a:pPr algn="ctr">
                <a:lnSpc>
                  <a:spcPct val="90000"/>
                </a:lnSpc>
              </a:pPr>
              <a:r>
                <a:rPr lang="de-DE" sz="1400" dirty="0">
                  <a:solidFill>
                    <a:schemeClr val="accent1"/>
                  </a:solidFill>
                  <a:latin typeface="Segoe UI" panose="020B0502040204020203" pitchFamily="34" charset="0"/>
                </a:rPr>
                <a:t>Emissionen</a:t>
              </a:r>
            </a:p>
          </p:txBody>
        </p:sp>
        <p:sp>
          <p:nvSpPr>
            <p:cNvPr id="31" name="Textfeld 30">
              <a:extLst>
                <a:ext uri="{FF2B5EF4-FFF2-40B4-BE49-F238E27FC236}">
                  <a16:creationId xmlns:a16="http://schemas.microsoft.com/office/drawing/2014/main" id="{4A8F82A7-6916-4986-B185-4CCEE108DEAA}"/>
                </a:ext>
              </a:extLst>
            </p:cNvPr>
            <p:cNvSpPr txBox="1"/>
            <p:nvPr/>
          </p:nvSpPr>
          <p:spPr>
            <a:xfrm>
              <a:off x="1535011" y="4067242"/>
              <a:ext cx="2053395" cy="48160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de-DE" sz="1400" dirty="0">
                  <a:solidFill>
                    <a:schemeClr val="accent1"/>
                  </a:solidFill>
                  <a:latin typeface="Segoe UI" panose="020B0502040204020203" pitchFamily="34" charset="0"/>
                </a:rPr>
                <a:t>Indirekte Emissionen aus Energiebezug</a:t>
              </a:r>
            </a:p>
          </p:txBody>
        </p:sp>
        <p:sp>
          <p:nvSpPr>
            <p:cNvPr id="32" name="Textfeld 31">
              <a:extLst>
                <a:ext uri="{FF2B5EF4-FFF2-40B4-BE49-F238E27FC236}">
                  <a16:creationId xmlns:a16="http://schemas.microsoft.com/office/drawing/2014/main" id="{5B57509F-D600-4494-BE4B-6A3159EBF65A}"/>
                </a:ext>
              </a:extLst>
            </p:cNvPr>
            <p:cNvSpPr txBox="1"/>
            <p:nvPr/>
          </p:nvSpPr>
          <p:spPr>
            <a:xfrm>
              <a:off x="1290051" y="5214962"/>
              <a:ext cx="2543318" cy="48160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de-DE" sz="1400" dirty="0">
                  <a:solidFill>
                    <a:schemeClr val="bg1"/>
                  </a:solidFill>
                  <a:latin typeface="Segoe UI" panose="020B0502040204020203" pitchFamily="34" charset="0"/>
                </a:rPr>
                <a:t>Indirekte Emissionen aus der Wertschöpfungskette</a:t>
              </a:r>
            </a:p>
          </p:txBody>
        </p:sp>
      </p:grpSp>
      <p:sp>
        <p:nvSpPr>
          <p:cNvPr id="38" name="Textfeld 37">
            <a:extLst>
              <a:ext uri="{FF2B5EF4-FFF2-40B4-BE49-F238E27FC236}">
                <a16:creationId xmlns:a16="http://schemas.microsoft.com/office/drawing/2014/main" id="{C3CF3E6A-DFA0-4E89-9C7B-12B433899323}"/>
              </a:ext>
            </a:extLst>
          </p:cNvPr>
          <p:cNvSpPr txBox="1"/>
          <p:nvPr/>
        </p:nvSpPr>
        <p:spPr>
          <a:xfrm>
            <a:off x="4718538" y="1512891"/>
            <a:ext cx="3654748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600" b="1" dirty="0">
                <a:solidFill>
                  <a:schemeClr val="tx2"/>
                </a:solidFill>
              </a:rPr>
              <a:t>Standorte + Fuhrpark</a:t>
            </a:r>
          </a:p>
          <a:p>
            <a:r>
              <a:rPr lang="de-DE" sz="1600" b="1" dirty="0">
                <a:solidFill>
                  <a:schemeClr val="tx2"/>
                </a:solidFill>
              </a:rPr>
              <a:t>(</a:t>
            </a:r>
            <a:r>
              <a:rPr lang="de-DE" sz="1600" b="1" dirty="0" err="1">
                <a:solidFill>
                  <a:schemeClr val="tx2"/>
                </a:solidFill>
              </a:rPr>
              <a:t>Scope</a:t>
            </a:r>
            <a:r>
              <a:rPr lang="de-DE" sz="1600" b="1" dirty="0">
                <a:solidFill>
                  <a:schemeClr val="tx2"/>
                </a:solidFill>
              </a:rPr>
              <a:t> 1+2)</a:t>
            </a:r>
          </a:p>
        </p:txBody>
      </p:sp>
      <p:sp>
        <p:nvSpPr>
          <p:cNvPr id="41" name="Textfeld 40">
            <a:extLst>
              <a:ext uri="{FF2B5EF4-FFF2-40B4-BE49-F238E27FC236}">
                <a16:creationId xmlns:a16="http://schemas.microsoft.com/office/drawing/2014/main" id="{81F912A0-54CE-43AB-8DC9-C5F3FB6B5B65}"/>
              </a:ext>
            </a:extLst>
          </p:cNvPr>
          <p:cNvSpPr txBox="1"/>
          <p:nvPr/>
        </p:nvSpPr>
        <p:spPr>
          <a:xfrm>
            <a:off x="289344" y="1512891"/>
            <a:ext cx="3930907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600" b="1" dirty="0">
                <a:solidFill>
                  <a:schemeClr val="tx2"/>
                </a:solidFill>
              </a:rPr>
              <a:t>Scopes 1-3</a:t>
            </a:r>
          </a:p>
          <a:p>
            <a:r>
              <a:rPr lang="de-DE" sz="1600" b="1" dirty="0">
                <a:solidFill>
                  <a:schemeClr val="tx2"/>
                </a:solidFill>
              </a:rPr>
              <a:t>nach </a:t>
            </a:r>
            <a:r>
              <a:rPr lang="de-DE" sz="1600" b="1" dirty="0" err="1">
                <a:solidFill>
                  <a:schemeClr val="tx2"/>
                </a:solidFill>
              </a:rPr>
              <a:t>Greenhouse</a:t>
            </a:r>
            <a:r>
              <a:rPr lang="de-DE" sz="1600" b="1" dirty="0">
                <a:solidFill>
                  <a:schemeClr val="tx2"/>
                </a:solidFill>
              </a:rPr>
              <a:t> Gas Protocol</a:t>
            </a:r>
          </a:p>
        </p:txBody>
      </p:sp>
      <p:graphicFrame>
        <p:nvGraphicFramePr>
          <p:cNvPr id="59" name="Diagramm 58">
            <a:extLst>
              <a:ext uri="{FF2B5EF4-FFF2-40B4-BE49-F238E27FC236}">
                <a16:creationId xmlns:a16="http://schemas.microsoft.com/office/drawing/2014/main" id="{20766954-D215-3ABA-1B52-8F6151B79F6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39707849"/>
              </p:ext>
            </p:extLst>
          </p:nvPr>
        </p:nvGraphicFramePr>
        <p:xfrm>
          <a:off x="4327314" y="1874697"/>
          <a:ext cx="4202504" cy="43278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sp>
        <p:nvSpPr>
          <p:cNvPr id="60" name="Textfeld 59">
            <a:extLst>
              <a:ext uri="{FF2B5EF4-FFF2-40B4-BE49-F238E27FC236}">
                <a16:creationId xmlns:a16="http://schemas.microsoft.com/office/drawing/2014/main" id="{FBAB91D4-8E89-A86A-F042-599E26AC0213}"/>
              </a:ext>
            </a:extLst>
          </p:cNvPr>
          <p:cNvSpPr txBox="1"/>
          <p:nvPr/>
        </p:nvSpPr>
        <p:spPr>
          <a:xfrm>
            <a:off x="5551553" y="3700148"/>
            <a:ext cx="1415259" cy="58477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dirty="0">
                <a:solidFill>
                  <a:schemeClr val="hlink"/>
                </a:solidFill>
              </a:rPr>
              <a:t>2018/19</a:t>
            </a:r>
          </a:p>
          <a:p>
            <a:pPr algn="l"/>
            <a:r>
              <a:rPr lang="de-DE" sz="2000" dirty="0"/>
              <a:t>50.560 t CO</a:t>
            </a:r>
            <a:r>
              <a:rPr lang="de-DE" sz="2000" baseline="-25000" dirty="0">
                <a:latin typeface="+mj-lt"/>
              </a:rPr>
              <a:t>2</a:t>
            </a:r>
          </a:p>
        </p:txBody>
      </p:sp>
      <p:sp>
        <p:nvSpPr>
          <p:cNvPr id="64" name="Textfeld 63">
            <a:extLst>
              <a:ext uri="{FF2B5EF4-FFF2-40B4-BE49-F238E27FC236}">
                <a16:creationId xmlns:a16="http://schemas.microsoft.com/office/drawing/2014/main" id="{21B0066F-898F-AC07-6041-CDD4920A89F0}"/>
              </a:ext>
            </a:extLst>
          </p:cNvPr>
          <p:cNvSpPr txBox="1"/>
          <p:nvPr/>
        </p:nvSpPr>
        <p:spPr>
          <a:xfrm>
            <a:off x="9404410" y="3700148"/>
            <a:ext cx="1572354" cy="58477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dirty="0">
                <a:solidFill>
                  <a:schemeClr val="hlink"/>
                </a:solidFill>
              </a:rPr>
              <a:t>2018/19</a:t>
            </a:r>
            <a:endParaRPr lang="de-DE" dirty="0">
              <a:latin typeface="+mj-lt"/>
            </a:endParaRPr>
          </a:p>
          <a:p>
            <a:pPr algn="ctr"/>
            <a:r>
              <a:rPr lang="de-DE" sz="2000" dirty="0">
                <a:latin typeface="+mj-lt"/>
              </a:rPr>
              <a:t>7,4 Mio. t CO</a:t>
            </a:r>
            <a:r>
              <a:rPr lang="de-DE" sz="2000" baseline="-25000" dirty="0">
                <a:latin typeface="+mj-lt"/>
              </a:rPr>
              <a:t>2</a:t>
            </a:r>
            <a:endParaRPr lang="de-DE" sz="2000" dirty="0">
              <a:latin typeface="+mj-lt"/>
            </a:endParaRPr>
          </a:p>
        </p:txBody>
      </p:sp>
      <p:sp>
        <p:nvSpPr>
          <p:cNvPr id="65" name="Textfeld 64">
            <a:extLst>
              <a:ext uri="{FF2B5EF4-FFF2-40B4-BE49-F238E27FC236}">
                <a16:creationId xmlns:a16="http://schemas.microsoft.com/office/drawing/2014/main" id="{D4F58070-EF8A-2A5C-8E93-5E46DDA87FD1}"/>
              </a:ext>
            </a:extLst>
          </p:cNvPr>
          <p:cNvSpPr txBox="1"/>
          <p:nvPr/>
        </p:nvSpPr>
        <p:spPr>
          <a:xfrm>
            <a:off x="8537252" y="1484828"/>
            <a:ext cx="3654748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600" b="1" dirty="0">
                <a:solidFill>
                  <a:schemeClr val="tx2"/>
                </a:solidFill>
              </a:rPr>
              <a:t>Vor- und nachgelagerte Wertschöpfungskette (</a:t>
            </a:r>
            <a:r>
              <a:rPr lang="de-DE" sz="1600" b="1" dirty="0" err="1">
                <a:solidFill>
                  <a:schemeClr val="tx2"/>
                </a:solidFill>
              </a:rPr>
              <a:t>Scope</a:t>
            </a:r>
            <a:r>
              <a:rPr lang="de-DE" sz="1600" b="1" dirty="0">
                <a:solidFill>
                  <a:schemeClr val="tx2"/>
                </a:solidFill>
              </a:rPr>
              <a:t> 3)</a:t>
            </a:r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84920391-823C-0090-2404-C309F182B7CD}"/>
              </a:ext>
            </a:extLst>
          </p:cNvPr>
          <p:cNvCxnSpPr>
            <a:cxnSpLocks/>
          </p:cNvCxnSpPr>
          <p:nvPr/>
        </p:nvCxnSpPr>
        <p:spPr>
          <a:xfrm>
            <a:off x="4392386" y="2073729"/>
            <a:ext cx="0" cy="4120019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BC8A4532-785E-5C83-0B94-E43137C18CFE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de-DE"/>
              <a:t>26.04.2023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267334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Diagramm 6">
            <a:extLst>
              <a:ext uri="{FF2B5EF4-FFF2-40B4-BE49-F238E27FC236}">
                <a16:creationId xmlns:a16="http://schemas.microsoft.com/office/drawing/2014/main" id="{571459F5-93A1-456B-8CF4-4AF496A0220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40349915"/>
              </p:ext>
            </p:extLst>
          </p:nvPr>
        </p:nvGraphicFramePr>
        <p:xfrm>
          <a:off x="52784" y="1366082"/>
          <a:ext cx="4183136" cy="49315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EA1C754-4287-4DD1-874D-C618E4FF6D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chritt 2 - Strategie + Ziele entwickeln</a:t>
            </a:r>
            <a:br>
              <a:rPr lang="de-DE" dirty="0"/>
            </a:br>
            <a:endParaRPr lang="de-DE" dirty="0"/>
          </a:p>
        </p:txBody>
      </p:sp>
      <p:sp>
        <p:nvSpPr>
          <p:cNvPr id="7169" name="Textplatzhalter 7168">
            <a:extLst>
              <a:ext uri="{FF2B5EF4-FFF2-40B4-BE49-F238E27FC236}">
                <a16:creationId xmlns:a16="http://schemas.microsoft.com/office/drawing/2014/main" id="{88C1A6EB-38A9-7CCE-4B64-297408FCC32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/>
              <a:t>Wie wollen wir diese Emissionen reduzieren?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6E0CB83-11AA-4C91-9F9A-9B9FD5BD77E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nb-NO"/>
              <a:t>Susanne Hartlieb | TRUMPF SE + Co. KG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0D79DB83-09E2-4607-A718-D9FBD9DACC9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D57957C-F0F3-7842-B0E2-B762F92D6487}" type="slidenum">
              <a:rPr lang="de-DE" smtClean="0"/>
              <a:pPr/>
              <a:t>4</a:t>
            </a:fld>
            <a:r>
              <a:rPr lang="de-DE" dirty="0"/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94624D95-D85A-4C16-918C-4F6C8226BD27}"/>
              </a:ext>
            </a:extLst>
          </p:cNvPr>
          <p:cNvSpPr txBox="1"/>
          <p:nvPr/>
        </p:nvSpPr>
        <p:spPr>
          <a:xfrm>
            <a:off x="1360538" y="3429000"/>
            <a:ext cx="2046396" cy="116955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2000" dirty="0">
                <a:solidFill>
                  <a:schemeClr val="hlink"/>
                </a:solidFill>
              </a:rPr>
              <a:t>2018/19</a:t>
            </a:r>
            <a:br>
              <a:rPr lang="de-DE" sz="2000" dirty="0"/>
            </a:br>
            <a:r>
              <a:rPr lang="de-DE" sz="2800" b="1" dirty="0"/>
              <a:t>7,45 </a:t>
            </a:r>
            <a:r>
              <a:rPr lang="de-DE" sz="2800" b="1" dirty="0" err="1"/>
              <a:t>Mio</a:t>
            </a:r>
            <a:r>
              <a:rPr lang="de-DE" sz="2800" b="1" dirty="0"/>
              <a:t> t CO</a:t>
            </a:r>
            <a:r>
              <a:rPr lang="de-DE" sz="2800" b="1" baseline="-25000" dirty="0"/>
              <a:t>2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5FAA4057-4C17-49A7-A1FF-1E3794F4D9D0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11400" y="1804320"/>
            <a:ext cx="1224740" cy="859340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46BBD680-B796-4A2C-87CC-6EEC96E4A47D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574193" y="1804320"/>
            <a:ext cx="1136039" cy="859340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6DD7CFFF-4260-413C-976A-60F9336C698E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60164" y="1804320"/>
            <a:ext cx="1137954" cy="859340"/>
          </a:xfrm>
          <a:prstGeom prst="rect">
            <a:avLst/>
          </a:prstGeom>
          <a:effectLst/>
        </p:spPr>
      </p:pic>
      <p:pic>
        <p:nvPicPr>
          <p:cNvPr id="13" name="Picture 30" descr="Windräder belasten die Umwelt am wenigsten - Sonnenseite - Ökologische  Kommunikation mit Franz Alt">
            <a:extLst>
              <a:ext uri="{FF2B5EF4-FFF2-40B4-BE49-F238E27FC236}">
                <a16:creationId xmlns:a16="http://schemas.microsoft.com/office/drawing/2014/main" id="{77C5E401-4AC4-4D35-A7AB-1A3ACC90AE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49422" y="1804320"/>
            <a:ext cx="1209575" cy="8593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feld 13">
            <a:extLst>
              <a:ext uri="{FF2B5EF4-FFF2-40B4-BE49-F238E27FC236}">
                <a16:creationId xmlns:a16="http://schemas.microsoft.com/office/drawing/2014/main" id="{35E33063-89F5-45A4-933D-34B8A04C6540}"/>
              </a:ext>
            </a:extLst>
          </p:cNvPr>
          <p:cNvSpPr txBox="1"/>
          <p:nvPr/>
        </p:nvSpPr>
        <p:spPr>
          <a:xfrm>
            <a:off x="4635922" y="2687660"/>
            <a:ext cx="1137953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200" dirty="0"/>
              <a:t>Energieeffizienz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5ABD93E9-5F8D-438C-A3FC-34861706459F}"/>
              </a:ext>
            </a:extLst>
          </p:cNvPr>
          <p:cNvSpPr txBox="1"/>
          <p:nvPr/>
        </p:nvSpPr>
        <p:spPr>
          <a:xfrm>
            <a:off x="5917617" y="2687660"/>
            <a:ext cx="119489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200" dirty="0"/>
              <a:t>Erneuerbare Energie erzeugen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66367EEC-E9CF-43D0-8727-C429FC7DDD58}"/>
              </a:ext>
            </a:extLst>
          </p:cNvPr>
          <p:cNvSpPr txBox="1"/>
          <p:nvPr/>
        </p:nvSpPr>
        <p:spPr>
          <a:xfrm>
            <a:off x="8572279" y="2687660"/>
            <a:ext cx="1137953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200" dirty="0"/>
              <a:t>E-Autos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469954E5-1F5C-4C4D-A09A-425904E41F4A}"/>
              </a:ext>
            </a:extLst>
          </p:cNvPr>
          <p:cNvSpPr txBox="1"/>
          <p:nvPr/>
        </p:nvSpPr>
        <p:spPr>
          <a:xfrm>
            <a:off x="7249422" y="2687660"/>
            <a:ext cx="117911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200" dirty="0"/>
              <a:t>Grünstrom beschaffen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6BB87E80-CF1E-4F64-BA25-29E832093DE5}"/>
              </a:ext>
            </a:extLst>
          </p:cNvPr>
          <p:cNvSpPr txBox="1"/>
          <p:nvPr/>
        </p:nvSpPr>
        <p:spPr>
          <a:xfrm>
            <a:off x="4678948" y="1449705"/>
            <a:ext cx="4220148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600" b="1" dirty="0"/>
              <a:t>Standorte </a:t>
            </a:r>
            <a:r>
              <a:rPr lang="de-DE" sz="1600" dirty="0"/>
              <a:t>(</a:t>
            </a:r>
            <a:r>
              <a:rPr lang="de-DE" sz="1600" dirty="0" err="1"/>
              <a:t>Scope</a:t>
            </a:r>
            <a:r>
              <a:rPr lang="de-DE" sz="1600" dirty="0"/>
              <a:t> 1+2)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EF8326BF-C18E-4C22-8333-15A5CD2F2779}"/>
              </a:ext>
            </a:extLst>
          </p:cNvPr>
          <p:cNvSpPr txBox="1"/>
          <p:nvPr/>
        </p:nvSpPr>
        <p:spPr>
          <a:xfrm>
            <a:off x="4660164" y="4855560"/>
            <a:ext cx="461771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600" b="1" dirty="0"/>
              <a:t>Zugekauftes Material </a:t>
            </a:r>
            <a:r>
              <a:rPr lang="de-DE" sz="1600" dirty="0"/>
              <a:t>(</a:t>
            </a:r>
            <a:r>
              <a:rPr lang="de-DE" sz="1600" dirty="0" err="1"/>
              <a:t>Scope</a:t>
            </a:r>
            <a:r>
              <a:rPr lang="de-DE" sz="1600" dirty="0"/>
              <a:t> 3.1)</a:t>
            </a:r>
          </a:p>
        </p:txBody>
      </p:sp>
      <p:pic>
        <p:nvPicPr>
          <p:cNvPr id="20" name="Picture 7" descr="2021-06 - TRUMPF - Case Study Heun - 5R1A8584">
            <a:extLst>
              <a:ext uri="{FF2B5EF4-FFF2-40B4-BE49-F238E27FC236}">
                <a16:creationId xmlns:a16="http://schemas.microsoft.com/office/drawing/2014/main" id="{E3C5DB1F-95C9-40D7-898D-82CB8C6C1A9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t="18865" r="19860" b="5837"/>
          <a:stretch/>
        </p:blipFill>
        <p:spPr bwMode="auto">
          <a:xfrm>
            <a:off x="5909970" y="3605007"/>
            <a:ext cx="1226170" cy="7675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extfeld 20">
            <a:extLst>
              <a:ext uri="{FF2B5EF4-FFF2-40B4-BE49-F238E27FC236}">
                <a16:creationId xmlns:a16="http://schemas.microsoft.com/office/drawing/2014/main" id="{8E16307F-3E76-440F-AB7A-B747CAFE5F9A}"/>
              </a:ext>
            </a:extLst>
          </p:cNvPr>
          <p:cNvSpPr txBox="1"/>
          <p:nvPr/>
        </p:nvSpPr>
        <p:spPr>
          <a:xfrm>
            <a:off x="4587965" y="4415323"/>
            <a:ext cx="121015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200" dirty="0"/>
              <a:t>Energieeffizienz</a:t>
            </a:r>
          </a:p>
        </p:txBody>
      </p:sp>
      <p:pic>
        <p:nvPicPr>
          <p:cNvPr id="23" name="Picture 13" descr="EP_1917_MF01_TruDisk 8000">
            <a:extLst>
              <a:ext uri="{FF2B5EF4-FFF2-40B4-BE49-F238E27FC236}">
                <a16:creationId xmlns:a16="http://schemas.microsoft.com/office/drawing/2014/main" id="{BDFAC401-26CF-4A70-813F-B726AF277F2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571" t="25304" r="27445" b="42327"/>
          <a:stretch/>
        </p:blipFill>
        <p:spPr bwMode="auto">
          <a:xfrm>
            <a:off x="4660164" y="3605007"/>
            <a:ext cx="1137953" cy="7675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feld 23">
            <a:extLst>
              <a:ext uri="{FF2B5EF4-FFF2-40B4-BE49-F238E27FC236}">
                <a16:creationId xmlns:a16="http://schemas.microsoft.com/office/drawing/2014/main" id="{48E1EE80-82CD-493F-916E-8811BE521938}"/>
              </a:ext>
            </a:extLst>
          </p:cNvPr>
          <p:cNvSpPr txBox="1"/>
          <p:nvPr/>
        </p:nvSpPr>
        <p:spPr>
          <a:xfrm>
            <a:off x="5946329" y="4415323"/>
            <a:ext cx="115345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200" dirty="0"/>
              <a:t>Sleep Modes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0AD62CFA-0897-4510-8584-42B39CC884CB}"/>
              </a:ext>
            </a:extLst>
          </p:cNvPr>
          <p:cNvSpPr txBox="1"/>
          <p:nvPr/>
        </p:nvSpPr>
        <p:spPr>
          <a:xfrm>
            <a:off x="4678947" y="3224681"/>
            <a:ext cx="5031285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600" b="1" dirty="0"/>
              <a:t>Produktnutzung </a:t>
            </a:r>
            <a:r>
              <a:rPr lang="de-DE" sz="1600" dirty="0"/>
              <a:t>(</a:t>
            </a:r>
            <a:r>
              <a:rPr lang="de-DE" sz="1600" dirty="0" err="1"/>
              <a:t>Scope</a:t>
            </a:r>
            <a:r>
              <a:rPr lang="de-DE" sz="1600" dirty="0"/>
              <a:t> 3.11) </a:t>
            </a:r>
          </a:p>
        </p:txBody>
      </p:sp>
      <p:pic>
        <p:nvPicPr>
          <p:cNvPr id="26" name="Picture 10" descr="Miethke_08">
            <a:extLst>
              <a:ext uri="{FF2B5EF4-FFF2-40B4-BE49-F238E27FC236}">
                <a16:creationId xmlns:a16="http://schemas.microsoft.com/office/drawing/2014/main" id="{03F3BA6B-2A9A-4DDB-877C-59686E3AA24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30" r="11679"/>
          <a:stretch/>
        </p:blipFill>
        <p:spPr bwMode="auto">
          <a:xfrm>
            <a:off x="4641381" y="5213100"/>
            <a:ext cx="1137953" cy="7675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Textfeld 26">
            <a:extLst>
              <a:ext uri="{FF2B5EF4-FFF2-40B4-BE49-F238E27FC236}">
                <a16:creationId xmlns:a16="http://schemas.microsoft.com/office/drawing/2014/main" id="{B3CCBA1A-4E6D-4BAF-97FE-4FD96A1A23AE}"/>
              </a:ext>
            </a:extLst>
          </p:cNvPr>
          <p:cNvSpPr txBox="1"/>
          <p:nvPr/>
        </p:nvSpPr>
        <p:spPr>
          <a:xfrm>
            <a:off x="4481045" y="6029379"/>
            <a:ext cx="141014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200" dirty="0"/>
              <a:t>Alternative Materialien</a:t>
            </a:r>
          </a:p>
        </p:txBody>
      </p:sp>
      <p:pic>
        <p:nvPicPr>
          <p:cNvPr id="7170" name="Picture 2" descr="Eco Cooler_TruLaser_Maschinenübersicht">
            <a:extLst>
              <a:ext uri="{FF2B5EF4-FFF2-40B4-BE49-F238E27FC236}">
                <a16:creationId xmlns:a16="http://schemas.microsoft.com/office/drawing/2014/main" id="{DCA7CCC4-F701-4F87-981E-9FE191F2313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696" t="32825" r="27565" b="33784"/>
          <a:stretch/>
        </p:blipFill>
        <p:spPr bwMode="auto">
          <a:xfrm>
            <a:off x="7247993" y="3605006"/>
            <a:ext cx="1164125" cy="7675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Textfeld 28">
            <a:extLst>
              <a:ext uri="{FF2B5EF4-FFF2-40B4-BE49-F238E27FC236}">
                <a16:creationId xmlns:a16="http://schemas.microsoft.com/office/drawing/2014/main" id="{163420E7-32C1-44D8-862A-FC15F96C6E78}"/>
              </a:ext>
            </a:extLst>
          </p:cNvPr>
          <p:cNvSpPr txBox="1"/>
          <p:nvPr/>
        </p:nvSpPr>
        <p:spPr>
          <a:xfrm>
            <a:off x="7253329" y="4415323"/>
            <a:ext cx="115345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200" dirty="0"/>
              <a:t>Effiziente Kühlung</a:t>
            </a:r>
          </a:p>
        </p:txBody>
      </p:sp>
      <p:pic>
        <p:nvPicPr>
          <p:cNvPr id="7172" name="Picture 4" descr="DSC_1711">
            <a:extLst>
              <a:ext uri="{FF2B5EF4-FFF2-40B4-BE49-F238E27FC236}">
                <a16:creationId xmlns:a16="http://schemas.microsoft.com/office/drawing/2014/main" id="{9F7CCA4F-2E1C-4302-9FDD-2577ECFC8D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5179" y="5217861"/>
            <a:ext cx="1137953" cy="7581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Textfeld 30">
            <a:extLst>
              <a:ext uri="{FF2B5EF4-FFF2-40B4-BE49-F238E27FC236}">
                <a16:creationId xmlns:a16="http://schemas.microsoft.com/office/drawing/2014/main" id="{37986310-7103-446A-9783-F5D64A932AE0}"/>
              </a:ext>
            </a:extLst>
          </p:cNvPr>
          <p:cNvSpPr txBox="1"/>
          <p:nvPr/>
        </p:nvSpPr>
        <p:spPr>
          <a:xfrm>
            <a:off x="5946329" y="6029379"/>
            <a:ext cx="1218656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200" dirty="0"/>
              <a:t>Lieferanten-Auswahl</a:t>
            </a: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964702F3-9ED0-4E3A-886F-6909F72C6EE6}"/>
              </a:ext>
            </a:extLst>
          </p:cNvPr>
          <p:cNvSpPr txBox="1"/>
          <p:nvPr/>
        </p:nvSpPr>
        <p:spPr>
          <a:xfrm>
            <a:off x="10303762" y="1735740"/>
            <a:ext cx="1888238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4800" b="1" dirty="0"/>
              <a:t>-55%</a:t>
            </a:r>
          </a:p>
        </p:txBody>
      </p:sp>
      <p:sp>
        <p:nvSpPr>
          <p:cNvPr id="41" name="Textfeld 40">
            <a:extLst>
              <a:ext uri="{FF2B5EF4-FFF2-40B4-BE49-F238E27FC236}">
                <a16:creationId xmlns:a16="http://schemas.microsoft.com/office/drawing/2014/main" id="{0843D1F0-2987-4304-A981-90C6859612F4}"/>
              </a:ext>
            </a:extLst>
          </p:cNvPr>
          <p:cNvSpPr txBox="1"/>
          <p:nvPr/>
        </p:nvSpPr>
        <p:spPr>
          <a:xfrm>
            <a:off x="7869076" y="5128209"/>
            <a:ext cx="1888238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4800" b="1" dirty="0"/>
              <a:t>-14%</a:t>
            </a:r>
          </a:p>
        </p:txBody>
      </p:sp>
      <p:sp>
        <p:nvSpPr>
          <p:cNvPr id="47" name="Textfeld 46">
            <a:extLst>
              <a:ext uri="{FF2B5EF4-FFF2-40B4-BE49-F238E27FC236}">
                <a16:creationId xmlns:a16="http://schemas.microsoft.com/office/drawing/2014/main" id="{3AF955BF-8D6E-4D15-AF40-0F4B22BB4352}"/>
              </a:ext>
            </a:extLst>
          </p:cNvPr>
          <p:cNvSpPr txBox="1"/>
          <p:nvPr/>
        </p:nvSpPr>
        <p:spPr>
          <a:xfrm>
            <a:off x="9120899" y="3570256"/>
            <a:ext cx="1888238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4800" b="1" dirty="0"/>
              <a:t>-14%</a:t>
            </a:r>
          </a:p>
        </p:txBody>
      </p:sp>
      <p:sp>
        <p:nvSpPr>
          <p:cNvPr id="48" name="Textfeld 47">
            <a:extLst>
              <a:ext uri="{FF2B5EF4-FFF2-40B4-BE49-F238E27FC236}">
                <a16:creationId xmlns:a16="http://schemas.microsoft.com/office/drawing/2014/main" id="{3903509C-41AB-48BD-812B-CAC258F5FD19}"/>
              </a:ext>
            </a:extLst>
          </p:cNvPr>
          <p:cNvSpPr txBox="1"/>
          <p:nvPr/>
        </p:nvSpPr>
        <p:spPr>
          <a:xfrm>
            <a:off x="10218380" y="2416389"/>
            <a:ext cx="179495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dirty="0"/>
              <a:t>in 2029/30</a:t>
            </a:r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74188564-CB61-489A-A053-1C51032DF499}"/>
              </a:ext>
            </a:extLst>
          </p:cNvPr>
          <p:cNvSpPr txBox="1"/>
          <p:nvPr/>
        </p:nvSpPr>
        <p:spPr>
          <a:xfrm>
            <a:off x="7869076" y="5820880"/>
            <a:ext cx="179495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dirty="0"/>
              <a:t>in 2029/30</a:t>
            </a: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6CE9CD48-6CFF-4921-A987-0E5DF33AB672}"/>
              </a:ext>
            </a:extLst>
          </p:cNvPr>
          <p:cNvSpPr txBox="1"/>
          <p:nvPr/>
        </p:nvSpPr>
        <p:spPr>
          <a:xfrm>
            <a:off x="9149939" y="4198380"/>
            <a:ext cx="179495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dirty="0"/>
              <a:t>in 2029/30</a:t>
            </a:r>
          </a:p>
        </p:txBody>
      </p:sp>
      <p:sp>
        <p:nvSpPr>
          <p:cNvPr id="30" name="Flussdiagramm: Auszug 29">
            <a:extLst>
              <a:ext uri="{FF2B5EF4-FFF2-40B4-BE49-F238E27FC236}">
                <a16:creationId xmlns:a16="http://schemas.microsoft.com/office/drawing/2014/main" id="{5A698060-4CCC-434B-A18E-6C97C66ACBB4}"/>
              </a:ext>
            </a:extLst>
          </p:cNvPr>
          <p:cNvSpPr/>
          <p:nvPr/>
        </p:nvSpPr>
        <p:spPr>
          <a:xfrm rot="5400000">
            <a:off x="9594900" y="2115712"/>
            <a:ext cx="883340" cy="260556"/>
          </a:xfrm>
          <a:prstGeom prst="flowChartExtra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dirty="0" err="1"/>
          </a:p>
        </p:txBody>
      </p:sp>
      <p:sp>
        <p:nvSpPr>
          <p:cNvPr id="52" name="Flussdiagramm: Auszug 51">
            <a:extLst>
              <a:ext uri="{FF2B5EF4-FFF2-40B4-BE49-F238E27FC236}">
                <a16:creationId xmlns:a16="http://schemas.microsoft.com/office/drawing/2014/main" id="{4ADF377F-7E0D-4E8F-A5B0-2F62EACD461A}"/>
              </a:ext>
            </a:extLst>
          </p:cNvPr>
          <p:cNvSpPr/>
          <p:nvPr/>
        </p:nvSpPr>
        <p:spPr>
          <a:xfrm rot="5400000">
            <a:off x="7069510" y="5478514"/>
            <a:ext cx="883340" cy="260556"/>
          </a:xfrm>
          <a:prstGeom prst="flowChartExtra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dirty="0" err="1"/>
          </a:p>
        </p:txBody>
      </p:sp>
      <p:sp>
        <p:nvSpPr>
          <p:cNvPr id="53" name="Flussdiagramm: Auszug 52">
            <a:extLst>
              <a:ext uri="{FF2B5EF4-FFF2-40B4-BE49-F238E27FC236}">
                <a16:creationId xmlns:a16="http://schemas.microsoft.com/office/drawing/2014/main" id="{40D5FB9D-ECE0-46C5-8A11-72FBB2B7F9CB}"/>
              </a:ext>
            </a:extLst>
          </p:cNvPr>
          <p:cNvSpPr/>
          <p:nvPr/>
        </p:nvSpPr>
        <p:spPr>
          <a:xfrm rot="5400000">
            <a:off x="8361709" y="3903431"/>
            <a:ext cx="883340" cy="260556"/>
          </a:xfrm>
          <a:prstGeom prst="flowChartExtra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dirty="0" err="1"/>
          </a:p>
        </p:txBody>
      </p:sp>
      <p:pic>
        <p:nvPicPr>
          <p:cNvPr id="6" name="Picture 2" descr="Fresh Del Monte Produce Announced Its Partnership With SBTi">
            <a:extLst>
              <a:ext uri="{FF2B5EF4-FFF2-40B4-BE49-F238E27FC236}">
                <a16:creationId xmlns:a16="http://schemas.microsoft.com/office/drawing/2014/main" id="{27FF5C63-5D66-7043-4507-9B955497880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6143"/>
          <a:stretch/>
        </p:blipFill>
        <p:spPr bwMode="auto">
          <a:xfrm>
            <a:off x="9828672" y="230168"/>
            <a:ext cx="2090188" cy="8683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Rechteck 21">
            <a:extLst>
              <a:ext uri="{FF2B5EF4-FFF2-40B4-BE49-F238E27FC236}">
                <a16:creationId xmlns:a16="http://schemas.microsoft.com/office/drawing/2014/main" id="{AEBF336D-D9EC-280B-A108-57B081867B40}"/>
              </a:ext>
            </a:extLst>
          </p:cNvPr>
          <p:cNvSpPr/>
          <p:nvPr/>
        </p:nvSpPr>
        <p:spPr>
          <a:xfrm>
            <a:off x="198783" y="6356348"/>
            <a:ext cx="9819860" cy="3194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dirty="0" err="1"/>
          </a:p>
        </p:txBody>
      </p:sp>
      <p:sp>
        <p:nvSpPr>
          <p:cNvPr id="7168" name="Datumsplatzhalter 7167">
            <a:extLst>
              <a:ext uri="{FF2B5EF4-FFF2-40B4-BE49-F238E27FC236}">
                <a16:creationId xmlns:a16="http://schemas.microsoft.com/office/drawing/2014/main" id="{493E8BFA-6122-E065-5B09-5EB9E6866B5F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de-DE"/>
              <a:t>26.04.2023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8080263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476D8F6-55A0-45C6-9308-602240D665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chritt 3 - Umsetzen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F2F25DC-CDB4-46B3-A5F2-1BA5E44DF4B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nb-NO"/>
              <a:t>Susanne Hartlieb | TRUMPF SE + Co. KG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60E59E13-0477-4A35-889E-51F206C47386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D57957C-F0F3-7842-B0E2-B762F92D6487}" type="slidenum">
              <a:rPr lang="de-DE" smtClean="0"/>
              <a:pPr/>
              <a:t>5</a:t>
            </a:fld>
            <a:r>
              <a:rPr lang="de-DE" dirty="0"/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3797ED2F-00E0-4E2F-922C-F99987D2E803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99185" y="2330058"/>
            <a:ext cx="2662375" cy="1868058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A8D1B7A0-5515-4ADC-9877-5549B233D264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202221" y="2330058"/>
            <a:ext cx="2469555" cy="1868058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0AE75924-DA64-4135-A430-A4953AB773AB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5937" y="2330058"/>
            <a:ext cx="2473717" cy="1868058"/>
          </a:xfrm>
          <a:prstGeom prst="rect">
            <a:avLst/>
          </a:prstGeom>
          <a:effectLst/>
        </p:spPr>
      </p:pic>
      <p:pic>
        <p:nvPicPr>
          <p:cNvPr id="11" name="Picture 30" descr="Windräder belasten die Umwelt am wenigsten - Sonnenseite - Ökologische  Kommunikation mit Franz Alt">
            <a:extLst>
              <a:ext uri="{FF2B5EF4-FFF2-40B4-BE49-F238E27FC236}">
                <a16:creationId xmlns:a16="http://schemas.microsoft.com/office/drawing/2014/main" id="{836CDC0B-AE78-4F54-9865-8EC7A3B87C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71091" y="2330058"/>
            <a:ext cx="2629408" cy="18680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B57E7323-8FDF-4887-B274-1072978E0BBC}"/>
              </a:ext>
            </a:extLst>
          </p:cNvPr>
          <p:cNvSpPr txBox="1"/>
          <p:nvPr/>
        </p:nvSpPr>
        <p:spPr>
          <a:xfrm>
            <a:off x="515937" y="4365640"/>
            <a:ext cx="2473717" cy="175432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buClr>
                <a:schemeClr val="tx2"/>
              </a:buClr>
              <a:buFont typeface="Wingdings" pitchFamily="2" charset="2"/>
              <a:buChar char="§"/>
            </a:lvl1pPr>
            <a:lvl2pPr>
              <a:buClr>
                <a:schemeClr val="tx2"/>
              </a:buClr>
              <a:buFont typeface="Wingdings" pitchFamily="2" charset="2"/>
              <a:buChar char="§"/>
            </a:lvl2pPr>
            <a:lvl3pPr>
              <a:buClr>
                <a:schemeClr val="tx2"/>
              </a:buClr>
              <a:buFont typeface="Wingdings" pitchFamily="2" charset="2"/>
              <a:buChar char="§"/>
            </a:lvl3pPr>
            <a:lvl4pPr>
              <a:buClr>
                <a:schemeClr val="tx2"/>
              </a:buClr>
              <a:buFont typeface="Wingdings" pitchFamily="2" charset="2"/>
              <a:buChar char="§"/>
            </a:lvl4pPr>
            <a:lvl5pPr>
              <a:buClr>
                <a:schemeClr val="tx2"/>
              </a:buClr>
              <a:buFont typeface="Wingdings" pitchFamily="2" charset="2"/>
              <a:buChar char="§"/>
            </a:lvl5pPr>
            <a:lvl6pPr>
              <a:buClr>
                <a:schemeClr val="tx2"/>
              </a:buClr>
              <a:buFont typeface="Wingdings" pitchFamily="2" charset="2"/>
              <a:buChar char="§"/>
            </a:lvl6pPr>
            <a:lvl7pPr>
              <a:buClr>
                <a:schemeClr val="tx2"/>
              </a:buClr>
              <a:buFont typeface="Wingdings" panose="05000000000000000000" pitchFamily="2" charset="2"/>
              <a:buChar char="§"/>
            </a:lvl7pPr>
            <a:lvl8pPr>
              <a:buClr>
                <a:schemeClr val="tx2"/>
              </a:buClr>
              <a:buFont typeface="Wingdings" panose="05000000000000000000" pitchFamily="2" charset="2"/>
              <a:buChar char="§"/>
            </a:lvl8pPr>
            <a:lvl9pPr>
              <a:buClr>
                <a:schemeClr val="tx2"/>
              </a:buClr>
              <a:buFont typeface="Wingdings" panose="05000000000000000000" pitchFamily="2" charset="2"/>
              <a:buChar char="§"/>
            </a:lvl9pPr>
          </a:lstStyle>
          <a:p>
            <a:pPr algn="ctr">
              <a:buNone/>
            </a:pPr>
            <a:r>
              <a:rPr lang="de-DE" b="1" dirty="0"/>
              <a:t>Energieeffizienz</a:t>
            </a:r>
            <a:endParaRPr lang="de-DE" sz="1600" b="1" dirty="0"/>
          </a:p>
          <a:p>
            <a:pPr algn="ctr">
              <a:buNone/>
            </a:pPr>
            <a:endParaRPr lang="de-DE" sz="1600" b="1" dirty="0"/>
          </a:p>
          <a:p>
            <a:pPr algn="ctr">
              <a:buNone/>
            </a:pPr>
            <a:endParaRPr lang="de-DE" sz="1600" b="1" dirty="0"/>
          </a:p>
          <a:p>
            <a:pPr marL="179388" indent="-179388"/>
            <a:r>
              <a:rPr lang="de-DE" sz="1600" dirty="0"/>
              <a:t>Ziele für Standorte 1,5%/a Strom, 3%/a Gas</a:t>
            </a:r>
          </a:p>
          <a:p>
            <a:pPr marL="179388" indent="-179388"/>
            <a:r>
              <a:rPr lang="de-DE" sz="1600" dirty="0"/>
              <a:t>Energiemanagement</a:t>
            </a:r>
          </a:p>
          <a:p>
            <a:pPr marL="179388" indent="-179388"/>
            <a:r>
              <a:rPr lang="de-DE" sz="1600" dirty="0"/>
              <a:t>Transformationskonzepte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7FBE201C-CC9C-4312-BD03-1EE748A9E584}"/>
              </a:ext>
            </a:extLst>
          </p:cNvPr>
          <p:cNvSpPr txBox="1"/>
          <p:nvPr/>
        </p:nvSpPr>
        <p:spPr>
          <a:xfrm>
            <a:off x="3333097" y="4365640"/>
            <a:ext cx="2628463" cy="126188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b="1" dirty="0"/>
              <a:t>Photovoltaik-Ausbau </a:t>
            </a:r>
          </a:p>
          <a:p>
            <a:pPr algn="ctr"/>
            <a:endParaRPr lang="de-DE" sz="1600" b="1" dirty="0"/>
          </a:p>
          <a:p>
            <a:pPr algn="ctr"/>
            <a:endParaRPr lang="de-DE" sz="1600" b="1" dirty="0"/>
          </a:p>
          <a:p>
            <a:pPr marL="179388" indent="-179388">
              <a:buClr>
                <a:schemeClr val="tx2"/>
              </a:buClr>
              <a:buFont typeface="Wingdings" pitchFamily="2" charset="2"/>
              <a:buChar char="§"/>
            </a:pPr>
            <a:r>
              <a:rPr lang="de-DE" sz="1600" dirty="0"/>
              <a:t>Zentraler Plan</a:t>
            </a:r>
          </a:p>
          <a:p>
            <a:pPr marL="179388" indent="-179388">
              <a:buClr>
                <a:schemeClr val="tx2"/>
              </a:buClr>
              <a:buFont typeface="Wingdings" pitchFamily="2" charset="2"/>
              <a:buChar char="§"/>
            </a:pPr>
            <a:r>
              <a:rPr lang="de-DE" sz="1600" dirty="0"/>
              <a:t>Zielsetzung 15 </a:t>
            </a:r>
            <a:r>
              <a:rPr lang="de-DE" sz="1600" dirty="0" err="1"/>
              <a:t>MWp</a:t>
            </a:r>
            <a:endParaRPr lang="de-DE" sz="1600" dirty="0"/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757FE9B2-877E-43D7-BAC7-5A6D35DA0287}"/>
              </a:ext>
            </a:extLst>
          </p:cNvPr>
          <p:cNvSpPr txBox="1"/>
          <p:nvPr/>
        </p:nvSpPr>
        <p:spPr>
          <a:xfrm>
            <a:off x="9201789" y="4365640"/>
            <a:ext cx="2474150" cy="18466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b="1" dirty="0"/>
              <a:t>Fuhrpark-Emissionen reduzieren</a:t>
            </a:r>
          </a:p>
          <a:p>
            <a:pPr algn="ctr"/>
            <a:endParaRPr lang="de-DE" sz="1600" dirty="0"/>
          </a:p>
          <a:p>
            <a:pPr marL="179388" indent="-179388">
              <a:buClr>
                <a:schemeClr val="tx2"/>
              </a:buClr>
              <a:buFont typeface="Wingdings" pitchFamily="2" charset="2"/>
              <a:buChar char="§"/>
            </a:pPr>
            <a:r>
              <a:rPr lang="de-DE" sz="1600" dirty="0"/>
              <a:t>Fahrpläne zur Elektrifizierung</a:t>
            </a:r>
          </a:p>
          <a:p>
            <a:pPr marL="179388" indent="-179388">
              <a:buClr>
                <a:schemeClr val="tx2"/>
              </a:buClr>
              <a:buFont typeface="Wingdings" pitchFamily="2" charset="2"/>
              <a:buChar char="§"/>
            </a:pPr>
            <a:r>
              <a:rPr lang="de-DE" sz="1600" dirty="0"/>
              <a:t>Vermeidung von Fahrten</a:t>
            </a:r>
          </a:p>
          <a:p>
            <a:pPr algn="ctr"/>
            <a:endParaRPr lang="de-DE" dirty="0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0A190177-41D0-465F-80F3-F7A839CE0A00}"/>
              </a:ext>
            </a:extLst>
          </p:cNvPr>
          <p:cNvSpPr txBox="1"/>
          <p:nvPr/>
        </p:nvSpPr>
        <p:spPr>
          <a:xfrm>
            <a:off x="6300076" y="4365640"/>
            <a:ext cx="2563196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dirty="0"/>
              <a:t>Weltweit 100% </a:t>
            </a:r>
            <a:r>
              <a:rPr lang="de-DE" b="1" dirty="0"/>
              <a:t>Grünstrom</a:t>
            </a:r>
            <a:endParaRPr lang="de-DE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868C8CF2-8787-43E7-BA56-B37744DE3CA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/>
              <a:t>Emissionen an den Standorten reduzieren</a:t>
            </a:r>
          </a:p>
        </p:txBody>
      </p:sp>
      <p:sp>
        <p:nvSpPr>
          <p:cNvPr id="5" name="Inhaltsplatzhalter 16">
            <a:extLst>
              <a:ext uri="{FF2B5EF4-FFF2-40B4-BE49-F238E27FC236}">
                <a16:creationId xmlns:a16="http://schemas.microsoft.com/office/drawing/2014/main" id="{D619CA06-21BE-0F73-CEC4-CBBB737D42B0}"/>
              </a:ext>
            </a:extLst>
          </p:cNvPr>
          <p:cNvSpPr txBox="1">
            <a:spLocks/>
          </p:cNvSpPr>
          <p:nvPr/>
        </p:nvSpPr>
        <p:spPr>
          <a:xfrm>
            <a:off x="515937" y="1682459"/>
            <a:ext cx="2610744" cy="392400"/>
          </a:xfrm>
          <a:prstGeom prst="rect">
            <a:avLst/>
          </a:prstGeom>
        </p:spPr>
        <p:txBody>
          <a:bodyPr vert="horz" lIns="0" tIns="0" rIns="0" bIns="151200" rtlCol="0" anchor="b" anchorCtr="0">
            <a:noAutofit/>
          </a:bodyPr>
          <a:lstStyle>
            <a:lvl1pPr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  <a:cs typeface="Arial" panose="020B0604020202020204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None/>
              <a:defRPr sz="1600" b="0" i="0">
                <a:cs typeface="Arial" panose="020B0604020202020204" pitchFamily="34" charset="0"/>
              </a:defRPr>
            </a:lvl2pPr>
            <a:lvl3pPr marL="216000" indent="-216000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Wingdings" pitchFamily="2" charset="2"/>
              <a:buChar char="§"/>
              <a:defRPr sz="1600" b="0" i="0">
                <a:cs typeface="Arial" panose="020B0604020202020204" pitchFamily="34" charset="0"/>
              </a:defRPr>
            </a:lvl3pPr>
            <a:lvl4pPr marL="432000" indent="-216000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Wingdings" pitchFamily="2" charset="2"/>
              <a:buChar char="§"/>
              <a:defRPr sz="1600" b="0" i="0">
                <a:cs typeface="Arial" panose="020B0604020202020204" pitchFamily="34" charset="0"/>
              </a:defRPr>
            </a:lvl4pPr>
            <a:lvl5pPr marL="648000" indent="-216000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Wingdings" pitchFamily="2" charset="2"/>
              <a:buChar char="§"/>
              <a:defRPr sz="1600" b="0" i="0">
                <a:cs typeface="Arial" panose="020B0604020202020204" pitchFamily="34" charset="0"/>
              </a:defRPr>
            </a:lvl5pPr>
            <a:lvl6pPr marL="864000" indent="-216000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dirty="0">
                <a:cs typeface="Arial" panose="020B0604020202020204" pitchFamily="34" charset="0"/>
              </a:defRPr>
            </a:lvl6pPr>
            <a:lvl7pPr marL="1080000" indent="-216000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/>
            </a:lvl7pPr>
            <a:lvl8pPr marL="1296000" indent="-216000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/>
            </a:lvl8pPr>
            <a:lvl9pPr marL="1512000" indent="-216000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baseline="0"/>
            </a:lvl9pPr>
          </a:lstStyle>
          <a:p>
            <a:r>
              <a:rPr lang="de-DE" dirty="0"/>
              <a:t>Handlungsfeld Standorte</a:t>
            </a:r>
          </a:p>
        </p:txBody>
      </p:sp>
      <p:cxnSp>
        <p:nvCxnSpPr>
          <p:cNvPr id="17" name="Gerade Verbindung 6">
            <a:extLst>
              <a:ext uri="{FF2B5EF4-FFF2-40B4-BE49-F238E27FC236}">
                <a16:creationId xmlns:a16="http://schemas.microsoft.com/office/drawing/2014/main" id="{926F616C-D606-F898-B27A-B12D9EB5A0DE}"/>
              </a:ext>
            </a:extLst>
          </p:cNvPr>
          <p:cNvCxnSpPr>
            <a:cxnSpLocks/>
          </p:cNvCxnSpPr>
          <p:nvPr/>
        </p:nvCxnSpPr>
        <p:spPr>
          <a:xfrm>
            <a:off x="516681" y="2025775"/>
            <a:ext cx="2610000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feld 3">
            <a:extLst>
              <a:ext uri="{FF2B5EF4-FFF2-40B4-BE49-F238E27FC236}">
                <a16:creationId xmlns:a16="http://schemas.microsoft.com/office/drawing/2014/main" id="{51067845-4039-A46F-D3C8-5CC82FBCC101}"/>
              </a:ext>
            </a:extLst>
          </p:cNvPr>
          <p:cNvSpPr txBox="1"/>
          <p:nvPr/>
        </p:nvSpPr>
        <p:spPr>
          <a:xfrm>
            <a:off x="1172348" y="6973774"/>
            <a:ext cx="9775959" cy="5651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C9D3DC"/>
                </a:solidFill>
              </a14:hiddenFill>
            </a:ext>
          </a:extLst>
        </p:spPr>
        <p:txBody>
          <a:bodyPr wrap="square" lIns="72000" tIns="36000" rIns="72000" bIns="36000" rtlCol="0">
            <a:spAutoFit/>
          </a:bodyPr>
          <a:lstStyle/>
          <a:p>
            <a:pPr algn="l"/>
            <a:r>
              <a:rPr lang="de-DE" sz="1600" b="1" dirty="0">
                <a:solidFill>
                  <a:schemeClr val="dk2"/>
                </a:solidFill>
              </a:rPr>
              <a:t>Erfolgsfaktoren</a:t>
            </a:r>
          </a:p>
          <a:p>
            <a:pPr algn="l"/>
            <a:r>
              <a:rPr lang="de-DE" sz="1600" dirty="0">
                <a:solidFill>
                  <a:schemeClr val="dk2"/>
                </a:solidFill>
              </a:rPr>
              <a:t>Ziele, Klare Zuständigkeiten, Kapazität + Budget, Standards, Führungskräfte und Teams mit Überzeugung </a:t>
            </a:r>
          </a:p>
        </p:txBody>
      </p:sp>
      <p:grpSp>
        <p:nvGrpSpPr>
          <p:cNvPr id="37" name="Arrow (2)">
            <a:extLst>
              <a:ext uri="{FF2B5EF4-FFF2-40B4-BE49-F238E27FC236}">
                <a16:creationId xmlns:a16="http://schemas.microsoft.com/office/drawing/2014/main" id="{E3BD9B61-2F2A-2058-713A-83E031418DA8}"/>
              </a:ext>
            </a:extLst>
          </p:cNvPr>
          <p:cNvGrpSpPr>
            <a:grpSpLocks/>
          </p:cNvGrpSpPr>
          <p:nvPr>
            <p:custDataLst>
              <p:tags r:id="rId1"/>
            </p:custDataLst>
          </p:nvPr>
        </p:nvGrpSpPr>
        <p:grpSpPr>
          <a:xfrm>
            <a:off x="535534" y="7009660"/>
            <a:ext cx="460909" cy="579793"/>
            <a:chOff x="5097258" y="2241315"/>
            <a:chExt cx="460909" cy="579793"/>
          </a:xfrm>
        </p:grpSpPr>
        <p:sp>
          <p:nvSpPr>
            <p:cNvPr id="35" name="Chevron 17">
              <a:extLst>
                <a:ext uri="{FF2B5EF4-FFF2-40B4-BE49-F238E27FC236}">
                  <a16:creationId xmlns:a16="http://schemas.microsoft.com/office/drawing/2014/main" id="{AFF89AF0-ADB9-2E2B-F3D3-4C08FE62F27B}"/>
                </a:ext>
              </a:extLst>
            </p:cNvPr>
            <p:cNvSpPr/>
            <p:nvPr>
              <p:custDataLst>
                <p:tags r:id="rId2"/>
              </p:custDataLst>
            </p:nvPr>
          </p:nvSpPr>
          <p:spPr bwMode="gray">
            <a:xfrm>
              <a:off x="5230609" y="2241315"/>
              <a:ext cx="327558" cy="579793"/>
            </a:xfrm>
            <a:prstGeom prst="chevron">
              <a:avLst/>
            </a:prstGeom>
            <a:solidFill>
              <a:srgbClr val="93C11C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ts val="281"/>
                </a:spcBef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36" name="Chevron 18">
              <a:extLst>
                <a:ext uri="{FF2B5EF4-FFF2-40B4-BE49-F238E27FC236}">
                  <a16:creationId xmlns:a16="http://schemas.microsoft.com/office/drawing/2014/main" id="{4ADA7B6E-9FF2-5FF8-25CE-85CE2D51F4DE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 bwMode="gray">
            <a:xfrm>
              <a:off x="5097258" y="2333066"/>
              <a:ext cx="223887" cy="396287"/>
            </a:xfrm>
            <a:prstGeom prst="chevron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ts val="281"/>
                </a:spcBef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20" name="Datumsplatzhalter 19">
            <a:extLst>
              <a:ext uri="{FF2B5EF4-FFF2-40B4-BE49-F238E27FC236}">
                <a16:creationId xmlns:a16="http://schemas.microsoft.com/office/drawing/2014/main" id="{1FA32F45-1416-D72B-CB7B-553D1E65180A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de-DE"/>
              <a:t>26.04.2023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762137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15" grpId="0"/>
      <p:bldP spid="16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80AB508-847B-4F6F-9DE6-5D4D61ADA0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chritt 3 - Umsetz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D5CE9DD-A128-4069-9EA2-D3038691ADE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nb-NO"/>
              <a:t>Susanne Hartlieb | TRUMPF SE + Co. K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7EF9EE0-E97D-4AB2-B9CA-5A2DCDDF95D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D57957C-F0F3-7842-B0E2-B762F92D6487}" type="slidenum">
              <a:rPr lang="de-DE" smtClean="0"/>
              <a:pPr/>
              <a:t>6</a:t>
            </a:fld>
            <a:r>
              <a:rPr lang="de-DE" dirty="0"/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pic>
        <p:nvPicPr>
          <p:cNvPr id="7" name="Picture 7" descr="2021-06 - TRUMPF - Case Study Heun - 5R1A8584">
            <a:extLst>
              <a:ext uri="{FF2B5EF4-FFF2-40B4-BE49-F238E27FC236}">
                <a16:creationId xmlns:a16="http://schemas.microsoft.com/office/drawing/2014/main" id="{8C561929-3E6F-4CD8-B917-559BDA7C099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t="18865" r="19860"/>
          <a:stretch/>
        </p:blipFill>
        <p:spPr bwMode="auto">
          <a:xfrm>
            <a:off x="3323300" y="2277654"/>
            <a:ext cx="2528754" cy="17057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0D8AF3CB-8077-4C6C-9DA4-BA80AE520FFF}"/>
              </a:ext>
            </a:extLst>
          </p:cNvPr>
          <p:cNvSpPr txBox="1"/>
          <p:nvPr/>
        </p:nvSpPr>
        <p:spPr>
          <a:xfrm>
            <a:off x="552189" y="4115196"/>
            <a:ext cx="2634071" cy="21544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buClr>
                <a:schemeClr val="tx2"/>
              </a:buClr>
              <a:buFont typeface="Wingdings" pitchFamily="2" charset="2"/>
              <a:buChar char="§"/>
            </a:lvl1pPr>
            <a:lvl2pPr>
              <a:buClr>
                <a:schemeClr val="tx2"/>
              </a:buClr>
              <a:buFont typeface="Wingdings" pitchFamily="2" charset="2"/>
              <a:buChar char="§"/>
            </a:lvl2pPr>
            <a:lvl3pPr>
              <a:buClr>
                <a:schemeClr val="tx2"/>
              </a:buClr>
              <a:buFont typeface="Wingdings" pitchFamily="2" charset="2"/>
              <a:buChar char="§"/>
            </a:lvl3pPr>
            <a:lvl4pPr>
              <a:buClr>
                <a:schemeClr val="tx2"/>
              </a:buClr>
              <a:buFont typeface="Wingdings" pitchFamily="2" charset="2"/>
              <a:buChar char="§"/>
            </a:lvl4pPr>
            <a:lvl5pPr>
              <a:buClr>
                <a:schemeClr val="tx2"/>
              </a:buClr>
              <a:buFont typeface="Wingdings" pitchFamily="2" charset="2"/>
              <a:buChar char="§"/>
            </a:lvl5pPr>
            <a:lvl6pPr>
              <a:buClr>
                <a:schemeClr val="tx2"/>
              </a:buClr>
              <a:buFont typeface="Wingdings" pitchFamily="2" charset="2"/>
              <a:buChar char="§"/>
            </a:lvl6pPr>
            <a:lvl7pPr>
              <a:buClr>
                <a:schemeClr val="tx2"/>
              </a:buClr>
              <a:buFont typeface="Wingdings" panose="05000000000000000000" pitchFamily="2" charset="2"/>
              <a:buChar char="§"/>
            </a:lvl7pPr>
            <a:lvl8pPr>
              <a:buClr>
                <a:schemeClr val="tx2"/>
              </a:buClr>
              <a:buFont typeface="Wingdings" panose="05000000000000000000" pitchFamily="2" charset="2"/>
              <a:buChar char="§"/>
            </a:lvl8pPr>
            <a:lvl9pPr>
              <a:buClr>
                <a:schemeClr val="tx2"/>
              </a:buClr>
              <a:buFont typeface="Wingdings" panose="05000000000000000000" pitchFamily="2" charset="2"/>
              <a:buChar char="§"/>
            </a:lvl9pPr>
          </a:lstStyle>
          <a:p>
            <a:pPr algn="ctr">
              <a:buNone/>
            </a:pPr>
            <a:r>
              <a:rPr lang="de-DE" b="1" dirty="0"/>
              <a:t>Energieverbrauch unserer Produkte</a:t>
            </a:r>
          </a:p>
          <a:p>
            <a:pPr algn="ctr">
              <a:buNone/>
            </a:pPr>
            <a:endParaRPr lang="de-DE" sz="800" dirty="0"/>
          </a:p>
          <a:p>
            <a:pPr marL="179388" indent="-179388"/>
            <a:r>
              <a:rPr lang="de-DE" sz="1600" dirty="0"/>
              <a:t>Energieeffizienz-Roadmap pro Geschäftsbereich</a:t>
            </a:r>
          </a:p>
          <a:p>
            <a:pPr marL="179388" indent="-179388"/>
            <a:r>
              <a:rPr lang="de-DE" sz="1600" dirty="0"/>
              <a:t>Anforderungen systematisch in Entwicklungsprozesse integrieren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733E554C-6F50-4D29-95E9-7E1E20FFF47D}"/>
              </a:ext>
            </a:extLst>
          </p:cNvPr>
          <p:cNvSpPr txBox="1"/>
          <p:nvPr/>
        </p:nvSpPr>
        <p:spPr>
          <a:xfrm>
            <a:off x="6174193" y="4115196"/>
            <a:ext cx="2473717" cy="21544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buClr>
                <a:schemeClr val="tx2"/>
              </a:buClr>
            </a:pPr>
            <a:r>
              <a:rPr lang="de-DE" b="1" dirty="0"/>
              <a:t>CO</a:t>
            </a:r>
            <a:r>
              <a:rPr lang="de-DE" b="1" baseline="-25000" dirty="0"/>
              <a:t>2</a:t>
            </a:r>
            <a:r>
              <a:rPr lang="de-DE" b="1" dirty="0"/>
              <a:t>-Rucksack unserer Produkte</a:t>
            </a:r>
          </a:p>
          <a:p>
            <a:pPr marL="179388" indent="-179388">
              <a:buClr>
                <a:schemeClr val="tx2"/>
              </a:buClr>
              <a:buFont typeface="Wingdings" pitchFamily="2" charset="2"/>
              <a:buChar char="§"/>
            </a:pPr>
            <a:endParaRPr lang="de-DE" sz="800" dirty="0"/>
          </a:p>
          <a:p>
            <a:pPr marL="179388" indent="-179388">
              <a:buClr>
                <a:schemeClr val="tx2"/>
              </a:buClr>
              <a:buFont typeface="Wingdings" pitchFamily="2" charset="2"/>
              <a:buChar char="§"/>
            </a:pPr>
            <a:r>
              <a:rPr lang="de-DE" sz="1600" dirty="0"/>
              <a:t>Identifizierung der größten Hebel auf Produkt- und Warengruppenebene</a:t>
            </a:r>
          </a:p>
          <a:p>
            <a:pPr marL="179388" indent="-179388">
              <a:buClr>
                <a:schemeClr val="tx2"/>
              </a:buClr>
              <a:buFont typeface="Wingdings" pitchFamily="2" charset="2"/>
              <a:buChar char="§"/>
            </a:pPr>
            <a:r>
              <a:rPr lang="de-DE" sz="1600" dirty="0"/>
              <a:t>Zusammenarbeit mit Lieferanten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AFB4FA5B-53C5-4AA0-B94B-214D61EF82CE}"/>
              </a:ext>
            </a:extLst>
          </p:cNvPr>
          <p:cNvSpPr txBox="1"/>
          <p:nvPr/>
        </p:nvSpPr>
        <p:spPr>
          <a:xfrm>
            <a:off x="3333097" y="4115196"/>
            <a:ext cx="2473717" cy="22159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b="1" dirty="0"/>
              <a:t>Vermarktung und Kommunikation</a:t>
            </a:r>
          </a:p>
          <a:p>
            <a:pPr marL="179388" indent="-179388">
              <a:buClr>
                <a:schemeClr val="tx2"/>
              </a:buClr>
              <a:buFont typeface="Wingdings" pitchFamily="2" charset="2"/>
              <a:buChar char="§"/>
            </a:pPr>
            <a:endParaRPr lang="de-DE" sz="800" dirty="0"/>
          </a:p>
          <a:p>
            <a:pPr marL="179388" indent="-179388">
              <a:buClr>
                <a:schemeClr val="tx2"/>
              </a:buClr>
              <a:buFont typeface="Wingdings" pitchFamily="2" charset="2"/>
              <a:buChar char="§"/>
            </a:pPr>
            <a:r>
              <a:rPr lang="de-DE" sz="1600" dirty="0"/>
              <a:t>Gezielte Vermarktung nachhaltigerer Produkte </a:t>
            </a:r>
          </a:p>
          <a:p>
            <a:pPr marL="179388" indent="-179388">
              <a:buClr>
                <a:schemeClr val="tx2"/>
              </a:buClr>
              <a:buFont typeface="Wingdings" pitchFamily="2" charset="2"/>
              <a:buChar char="§"/>
            </a:pPr>
            <a:r>
              <a:rPr lang="de-DE" sz="1600" dirty="0"/>
              <a:t>Kunden befähigen (Beratung, Schulungen)</a:t>
            </a:r>
          </a:p>
          <a:p>
            <a:pPr algn="ctr"/>
            <a:endParaRPr lang="de-DE" b="1" dirty="0"/>
          </a:p>
          <a:p>
            <a:pPr algn="ctr"/>
            <a:endParaRPr lang="de-DE" b="1" dirty="0"/>
          </a:p>
        </p:txBody>
      </p:sp>
      <p:pic>
        <p:nvPicPr>
          <p:cNvPr id="13" name="Picture 13" descr="EP_1917_MF01_TruDisk 8000">
            <a:extLst>
              <a:ext uri="{FF2B5EF4-FFF2-40B4-BE49-F238E27FC236}">
                <a16:creationId xmlns:a16="http://schemas.microsoft.com/office/drawing/2014/main" id="{E5189199-878D-4981-B090-366956643D9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571" t="25304" r="27445" b="42327"/>
          <a:stretch/>
        </p:blipFill>
        <p:spPr bwMode="auto">
          <a:xfrm>
            <a:off x="515938" y="2277652"/>
            <a:ext cx="2528755" cy="17057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0" descr="Miethke_08">
            <a:extLst>
              <a:ext uri="{FF2B5EF4-FFF2-40B4-BE49-F238E27FC236}">
                <a16:creationId xmlns:a16="http://schemas.microsoft.com/office/drawing/2014/main" id="{2DA47D18-B5C1-4FC6-A603-85C8CBB98D7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30" r="11679"/>
          <a:stretch/>
        </p:blipFill>
        <p:spPr bwMode="auto">
          <a:xfrm>
            <a:off x="6140407" y="2277652"/>
            <a:ext cx="2528755" cy="17057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26DE2C34-3608-4D0C-86BA-2D5099C7685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/>
              <a:t>Emissionen in der Wertschöpfungskette reduzieren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CCC4777F-13BE-4432-8E70-356584DFCFCC}"/>
              </a:ext>
            </a:extLst>
          </p:cNvPr>
          <p:cNvSpPr txBox="1"/>
          <p:nvPr/>
        </p:nvSpPr>
        <p:spPr>
          <a:xfrm>
            <a:off x="8957515" y="4115196"/>
            <a:ext cx="2473717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endParaRPr lang="de-DE" dirty="0"/>
          </a:p>
          <a:p>
            <a:pPr algn="ctr"/>
            <a:r>
              <a:rPr lang="de-DE" dirty="0"/>
              <a:t>… und weitere Initiativen und Projekte über das Unternehmen hinweg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B831EA29-4A62-42C2-B4EC-3AB72CBBD3C0}"/>
              </a:ext>
            </a:extLst>
          </p:cNvPr>
          <p:cNvSpPr/>
          <p:nvPr/>
        </p:nvSpPr>
        <p:spPr>
          <a:xfrm>
            <a:off x="8957515" y="2277654"/>
            <a:ext cx="2528754" cy="1705732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dirty="0" err="1"/>
          </a:p>
        </p:txBody>
      </p:sp>
      <p:pic>
        <p:nvPicPr>
          <p:cNvPr id="10" name="Grafik 9" descr="Lichter an mit einfarbiger Füllung">
            <a:extLst>
              <a:ext uri="{FF2B5EF4-FFF2-40B4-BE49-F238E27FC236}">
                <a16:creationId xmlns:a16="http://schemas.microsoft.com/office/drawing/2014/main" id="{C32CECBD-076B-414D-920D-E0FC226D883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580417" y="2475317"/>
            <a:ext cx="1226127" cy="1226127"/>
          </a:xfrm>
          <a:prstGeom prst="rect">
            <a:avLst/>
          </a:prstGeom>
        </p:spPr>
      </p:pic>
      <p:sp>
        <p:nvSpPr>
          <p:cNvPr id="14" name="Inhaltsplatzhalter 16">
            <a:extLst>
              <a:ext uri="{FF2B5EF4-FFF2-40B4-BE49-F238E27FC236}">
                <a16:creationId xmlns:a16="http://schemas.microsoft.com/office/drawing/2014/main" id="{93B97BBF-66F7-32AD-58D1-E654A8792599}"/>
              </a:ext>
            </a:extLst>
          </p:cNvPr>
          <p:cNvSpPr txBox="1">
            <a:spLocks/>
          </p:cNvSpPr>
          <p:nvPr/>
        </p:nvSpPr>
        <p:spPr>
          <a:xfrm>
            <a:off x="515936" y="1682459"/>
            <a:ext cx="3690303" cy="392400"/>
          </a:xfrm>
          <a:prstGeom prst="rect">
            <a:avLst/>
          </a:prstGeom>
        </p:spPr>
        <p:txBody>
          <a:bodyPr vert="horz" lIns="0" tIns="0" rIns="0" bIns="151200" rtlCol="0" anchor="b" anchorCtr="0">
            <a:noAutofit/>
          </a:bodyPr>
          <a:lstStyle>
            <a:lvl1pPr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  <a:cs typeface="Arial" panose="020B0604020202020204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None/>
              <a:defRPr sz="1600" b="0" i="0">
                <a:cs typeface="Arial" panose="020B0604020202020204" pitchFamily="34" charset="0"/>
              </a:defRPr>
            </a:lvl2pPr>
            <a:lvl3pPr marL="216000" indent="-216000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Wingdings" pitchFamily="2" charset="2"/>
              <a:buChar char="§"/>
              <a:defRPr sz="1600" b="0" i="0">
                <a:cs typeface="Arial" panose="020B0604020202020204" pitchFamily="34" charset="0"/>
              </a:defRPr>
            </a:lvl3pPr>
            <a:lvl4pPr marL="432000" indent="-216000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Wingdings" pitchFamily="2" charset="2"/>
              <a:buChar char="§"/>
              <a:defRPr sz="1600" b="0" i="0">
                <a:cs typeface="Arial" panose="020B0604020202020204" pitchFamily="34" charset="0"/>
              </a:defRPr>
            </a:lvl4pPr>
            <a:lvl5pPr marL="648000" indent="-216000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Wingdings" pitchFamily="2" charset="2"/>
              <a:buChar char="§"/>
              <a:defRPr sz="1600" b="0" i="0">
                <a:cs typeface="Arial" panose="020B0604020202020204" pitchFamily="34" charset="0"/>
              </a:defRPr>
            </a:lvl5pPr>
            <a:lvl6pPr marL="864000" indent="-216000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dirty="0">
                <a:cs typeface="Arial" panose="020B0604020202020204" pitchFamily="34" charset="0"/>
              </a:defRPr>
            </a:lvl6pPr>
            <a:lvl7pPr marL="1080000" indent="-216000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/>
            </a:lvl7pPr>
            <a:lvl8pPr marL="1296000" indent="-216000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/>
            </a:lvl8pPr>
            <a:lvl9pPr marL="1512000" indent="-216000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baseline="0"/>
            </a:lvl9pPr>
          </a:lstStyle>
          <a:p>
            <a:r>
              <a:rPr lang="de-DE" dirty="0"/>
              <a:t>Handlungsfeld Produktnutzung</a:t>
            </a:r>
          </a:p>
        </p:txBody>
      </p:sp>
      <p:cxnSp>
        <p:nvCxnSpPr>
          <p:cNvPr id="17" name="Gerade Verbindung 6">
            <a:extLst>
              <a:ext uri="{FF2B5EF4-FFF2-40B4-BE49-F238E27FC236}">
                <a16:creationId xmlns:a16="http://schemas.microsoft.com/office/drawing/2014/main" id="{42C4571F-ED39-B07E-A0FA-0E409780E35F}"/>
              </a:ext>
            </a:extLst>
          </p:cNvPr>
          <p:cNvCxnSpPr>
            <a:cxnSpLocks/>
          </p:cNvCxnSpPr>
          <p:nvPr/>
        </p:nvCxnSpPr>
        <p:spPr>
          <a:xfrm>
            <a:off x="516681" y="2025775"/>
            <a:ext cx="5290133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Inhaltsplatzhalter 16">
            <a:extLst>
              <a:ext uri="{FF2B5EF4-FFF2-40B4-BE49-F238E27FC236}">
                <a16:creationId xmlns:a16="http://schemas.microsoft.com/office/drawing/2014/main" id="{006A7C21-6468-B455-A165-3A5E3E09A745}"/>
              </a:ext>
            </a:extLst>
          </p:cNvPr>
          <p:cNvSpPr txBox="1">
            <a:spLocks/>
          </p:cNvSpPr>
          <p:nvPr/>
        </p:nvSpPr>
        <p:spPr>
          <a:xfrm>
            <a:off x="6177596" y="1674839"/>
            <a:ext cx="3690303" cy="392400"/>
          </a:xfrm>
          <a:prstGeom prst="rect">
            <a:avLst/>
          </a:prstGeom>
        </p:spPr>
        <p:txBody>
          <a:bodyPr vert="horz" lIns="0" tIns="0" rIns="0" bIns="151200" rtlCol="0" anchor="b" anchorCtr="0">
            <a:noAutofit/>
          </a:bodyPr>
          <a:lstStyle>
            <a:lvl1pPr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  <a:cs typeface="Arial" panose="020B0604020202020204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None/>
              <a:defRPr sz="1600" b="0" i="0">
                <a:cs typeface="Arial" panose="020B0604020202020204" pitchFamily="34" charset="0"/>
              </a:defRPr>
            </a:lvl2pPr>
            <a:lvl3pPr marL="216000" indent="-216000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Wingdings" pitchFamily="2" charset="2"/>
              <a:buChar char="§"/>
              <a:defRPr sz="1600" b="0" i="0">
                <a:cs typeface="Arial" panose="020B0604020202020204" pitchFamily="34" charset="0"/>
              </a:defRPr>
            </a:lvl3pPr>
            <a:lvl4pPr marL="432000" indent="-216000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Wingdings" pitchFamily="2" charset="2"/>
              <a:buChar char="§"/>
              <a:defRPr sz="1600" b="0" i="0">
                <a:cs typeface="Arial" panose="020B0604020202020204" pitchFamily="34" charset="0"/>
              </a:defRPr>
            </a:lvl4pPr>
            <a:lvl5pPr marL="648000" indent="-216000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Wingdings" pitchFamily="2" charset="2"/>
              <a:buChar char="§"/>
              <a:defRPr sz="1600" b="0" i="0">
                <a:cs typeface="Arial" panose="020B0604020202020204" pitchFamily="34" charset="0"/>
              </a:defRPr>
            </a:lvl5pPr>
            <a:lvl6pPr marL="864000" indent="-216000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dirty="0">
                <a:cs typeface="Arial" panose="020B0604020202020204" pitchFamily="34" charset="0"/>
              </a:defRPr>
            </a:lvl6pPr>
            <a:lvl7pPr marL="1080000" indent="-216000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/>
            </a:lvl7pPr>
            <a:lvl8pPr marL="1296000" indent="-216000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/>
            </a:lvl8pPr>
            <a:lvl9pPr marL="1512000" indent="-216000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baseline="0"/>
            </a:lvl9pPr>
          </a:lstStyle>
          <a:p>
            <a:r>
              <a:rPr lang="de-DE" dirty="0"/>
              <a:t>Handlungsfeld Materialien</a:t>
            </a:r>
          </a:p>
        </p:txBody>
      </p:sp>
      <p:cxnSp>
        <p:nvCxnSpPr>
          <p:cNvPr id="20" name="Gerade Verbindung 6">
            <a:extLst>
              <a:ext uri="{FF2B5EF4-FFF2-40B4-BE49-F238E27FC236}">
                <a16:creationId xmlns:a16="http://schemas.microsoft.com/office/drawing/2014/main" id="{D3FCECAC-68B5-5B7C-6F96-1ACD95F47265}"/>
              </a:ext>
            </a:extLst>
          </p:cNvPr>
          <p:cNvCxnSpPr>
            <a:cxnSpLocks/>
          </p:cNvCxnSpPr>
          <p:nvPr/>
        </p:nvCxnSpPr>
        <p:spPr>
          <a:xfrm>
            <a:off x="6178341" y="2018155"/>
            <a:ext cx="2490821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feld 3">
            <a:extLst>
              <a:ext uri="{FF2B5EF4-FFF2-40B4-BE49-F238E27FC236}">
                <a16:creationId xmlns:a16="http://schemas.microsoft.com/office/drawing/2014/main" id="{B7426EB4-70E1-9CDB-5DD1-65206B68A793}"/>
              </a:ext>
            </a:extLst>
          </p:cNvPr>
          <p:cNvSpPr txBox="1"/>
          <p:nvPr/>
        </p:nvSpPr>
        <p:spPr>
          <a:xfrm>
            <a:off x="1092088" y="7006159"/>
            <a:ext cx="7635533" cy="5651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C9D3DC"/>
                </a:solidFill>
              </a14:hiddenFill>
            </a:ext>
          </a:extLst>
        </p:spPr>
        <p:txBody>
          <a:bodyPr wrap="square" lIns="72000" tIns="36000" rIns="72000" bIns="36000" rtlCol="0">
            <a:spAutoFit/>
          </a:bodyPr>
          <a:lstStyle/>
          <a:p>
            <a:pPr algn="l"/>
            <a:r>
              <a:rPr lang="de-DE" sz="1600" b="1" dirty="0">
                <a:solidFill>
                  <a:schemeClr val="dk2"/>
                </a:solidFill>
              </a:rPr>
              <a:t>Herausforderungen</a:t>
            </a:r>
            <a:r>
              <a:rPr lang="de-DE" sz="1600" dirty="0">
                <a:solidFill>
                  <a:schemeClr val="dk2"/>
                </a:solidFill>
              </a:rPr>
              <a:t> über alle Handlungsfelder hinweg:</a:t>
            </a:r>
          </a:p>
          <a:p>
            <a:pPr algn="l"/>
            <a:r>
              <a:rPr lang="de-DE" sz="1600" dirty="0">
                <a:solidFill>
                  <a:schemeClr val="dk2"/>
                </a:solidFill>
              </a:rPr>
              <a:t>Verfügbarkeit von Daten, absolute Reduktion trotz Wachstum,…</a:t>
            </a:r>
          </a:p>
        </p:txBody>
      </p:sp>
      <p:grpSp>
        <p:nvGrpSpPr>
          <p:cNvPr id="18" name="Arrow (2)">
            <a:extLst>
              <a:ext uri="{FF2B5EF4-FFF2-40B4-BE49-F238E27FC236}">
                <a16:creationId xmlns:a16="http://schemas.microsoft.com/office/drawing/2014/main" id="{49307BB0-2175-400A-4409-DF65F703F98C}"/>
              </a:ext>
            </a:extLst>
          </p:cNvPr>
          <p:cNvGrpSpPr>
            <a:grpSpLocks/>
          </p:cNvGrpSpPr>
          <p:nvPr>
            <p:custDataLst>
              <p:tags r:id="rId1"/>
            </p:custDataLst>
          </p:nvPr>
        </p:nvGrpSpPr>
        <p:grpSpPr>
          <a:xfrm>
            <a:off x="516681" y="7007147"/>
            <a:ext cx="460909" cy="579793"/>
            <a:chOff x="5097258" y="2241315"/>
            <a:chExt cx="460909" cy="579793"/>
          </a:xfrm>
        </p:grpSpPr>
        <p:sp>
          <p:nvSpPr>
            <p:cNvPr id="22" name="Chevron 17">
              <a:extLst>
                <a:ext uri="{FF2B5EF4-FFF2-40B4-BE49-F238E27FC236}">
                  <a16:creationId xmlns:a16="http://schemas.microsoft.com/office/drawing/2014/main" id="{76955351-2981-E4AB-8E19-9C0BA94C51DB}"/>
                </a:ext>
              </a:extLst>
            </p:cNvPr>
            <p:cNvSpPr/>
            <p:nvPr>
              <p:custDataLst>
                <p:tags r:id="rId2"/>
              </p:custDataLst>
            </p:nvPr>
          </p:nvSpPr>
          <p:spPr bwMode="gray">
            <a:xfrm>
              <a:off x="5230609" y="2241315"/>
              <a:ext cx="327558" cy="579793"/>
            </a:xfrm>
            <a:prstGeom prst="chevron">
              <a:avLst/>
            </a:prstGeom>
            <a:solidFill>
              <a:srgbClr val="93C11C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ts val="281"/>
                </a:spcBef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23" name="Chevron 18">
              <a:extLst>
                <a:ext uri="{FF2B5EF4-FFF2-40B4-BE49-F238E27FC236}">
                  <a16:creationId xmlns:a16="http://schemas.microsoft.com/office/drawing/2014/main" id="{8721CD28-71FA-3BA5-73BF-4A1F810F3920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 bwMode="gray">
            <a:xfrm>
              <a:off x="5097258" y="2333066"/>
              <a:ext cx="223887" cy="396287"/>
            </a:xfrm>
            <a:prstGeom prst="chevron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ts val="281"/>
                </a:spcBef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26" name="Datumsplatzhalter 25">
            <a:extLst>
              <a:ext uri="{FF2B5EF4-FFF2-40B4-BE49-F238E27FC236}">
                <a16:creationId xmlns:a16="http://schemas.microsoft.com/office/drawing/2014/main" id="{0A4DEB90-5DF7-996A-3694-9DFB126E918A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de-DE"/>
              <a:t>26.04.2023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785981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2" grpId="0"/>
      <p:bldP spid="21" grpId="0"/>
      <p:bldP spid="3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82305C1-4AF6-78FC-A611-44206F8B2C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B2A97F6-3EC3-1C31-B151-BF4BDCBEA38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ABF13C9-3146-0270-CA26-5D8BE8696E4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nb-NO"/>
              <a:t>Susanne Hartlieb | TRUMPF SE + Co. K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9E4B957-CF9E-6987-1A87-1BF6828BB020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D57957C-F0F3-7842-B0E2-B762F92D6487}" type="slidenum">
              <a:rPr lang="de-DE" smtClean="0"/>
              <a:pPr/>
              <a:t>7</a:t>
            </a:fld>
            <a:r>
              <a:rPr lang="de-DE" dirty="0"/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1188B508-DAB5-38E4-797E-AC0BF784CB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-535095"/>
            <a:ext cx="12210931" cy="10577408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CB90040F-9C01-EB76-344C-08DDE108430E}"/>
              </a:ext>
            </a:extLst>
          </p:cNvPr>
          <p:cNvSpPr txBox="1"/>
          <p:nvPr/>
        </p:nvSpPr>
        <p:spPr>
          <a:xfrm>
            <a:off x="6506936" y="2571750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endParaRPr lang="de-DE" dirty="0" err="1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C3BB766D-4F26-4547-2D5F-05AD4CC12089}"/>
              </a:ext>
            </a:extLst>
          </p:cNvPr>
          <p:cNvSpPr txBox="1"/>
          <p:nvPr/>
        </p:nvSpPr>
        <p:spPr>
          <a:xfrm>
            <a:off x="4565290" y="1874405"/>
            <a:ext cx="7326673" cy="31393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2800" b="1" dirty="0">
                <a:solidFill>
                  <a:schemeClr val="bg1"/>
                </a:solidFill>
              </a:rPr>
              <a:t>Ein Fabrik mit Zukunft</a:t>
            </a:r>
            <a:endParaRPr lang="de-DE" sz="2800" dirty="0">
              <a:solidFill>
                <a:schemeClr val="bg1"/>
              </a:solidFill>
            </a:endParaRPr>
          </a:p>
          <a:p>
            <a:endParaRPr lang="de-DE" sz="2800" dirty="0">
              <a:solidFill>
                <a:schemeClr val="bg1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2400" dirty="0">
                <a:solidFill>
                  <a:schemeClr val="bg1"/>
                </a:solidFill>
              </a:rPr>
              <a:t>100% erneuerbare Energie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2400" dirty="0">
                <a:solidFill>
                  <a:schemeClr val="bg1"/>
                </a:solidFill>
              </a:rPr>
              <a:t>Energie- und ressourceneffiziente Prozesse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2400" dirty="0">
                <a:solidFill>
                  <a:schemeClr val="bg1"/>
                </a:solidFill>
              </a:rPr>
              <a:t>Nachhaltigkeit standardmäßig Bestandteil von Entscheidungsprozessen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2400" dirty="0">
                <a:solidFill>
                  <a:schemeClr val="bg1"/>
                </a:solidFill>
              </a:rPr>
              <a:t>Denkt mehr und mehr zirkulär.</a:t>
            </a:r>
          </a:p>
          <a:p>
            <a:endParaRPr lang="de-DE" sz="2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751176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>
            <a:extLst>
              <a:ext uri="{FF2B5EF4-FFF2-40B4-BE49-F238E27FC236}">
                <a16:creationId xmlns:a16="http://schemas.microsoft.com/office/drawing/2014/main" id="{CE84F87F-EB49-4E94-BFAA-523402F76AD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4AC939A-A6E7-44D7-B8DD-6EA76BF786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57957C-F0F3-7842-B0E2-B762F92D6487}" type="slidenum">
              <a:rPr lang="de-DE"/>
              <a:pPr/>
              <a:t>8</a:t>
            </a:fld>
            <a:r>
              <a:rPr lang="de-DE" dirty="0"/>
              <a:t>  </a:t>
            </a:r>
            <a:r>
              <a:rPr lang="de-DE" b="0" dirty="0"/>
              <a:t>|</a:t>
            </a:r>
            <a:endParaRPr lang="de-DE" sz="900" b="0" dirty="0"/>
          </a:p>
        </p:txBody>
      </p:sp>
    </p:spTree>
    <p:extLst>
      <p:ext uri="{BB962C8B-B14F-4D97-AF65-F5344CB8AC3E}">
        <p14:creationId xmlns:p14="http://schemas.microsoft.com/office/powerpoint/2010/main" val="41904129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MIO_CHANGETRACKING" val="true"/>
  <p:tag name="MIO_PRESENTATION_LANGUAGE" val="103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E-Mail-Adresse;Bitte geben Sie hier Ihre E-Mail-Adresse ein"/>
  <p:tag name="MIO_USER_INPUT_OPTIONAL" val=" "/>
  <p:tag name="MIO_USER_INPUT_TEXT" val=" 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Telefonnummer;Bitten geben Sie hier Ihre Telefonnummer ein"/>
  <p:tag name="MIO_USER_INPUT_OPTIONAL" val=" "/>
  <p:tag name="MIO_USER_INPUT_TEXT" val=" 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bteilung;Bitte geben Sie hier Ihre Abteilung ein"/>
  <p:tag name="MIO_USER_INPUT_OPTIONAL" val=" "/>
  <p:tag name="MIO_USER_INPUT_TEXT" val=" 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Name;Bitte geben Sie hier Ihren Vor- und Nachnamen ein"/>
  <p:tag name="MIO_USER_INPUT_OPTIONAL" val=" "/>
  <p:tag name="MIO_USER_INPUT_TEXT" val=" 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V2" val="empowerBulletV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V2" val="empowerBulletV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238a665-d686-476e-a182-03e663ec6f99"/>
  <p:tag name="MIO_EKGUID" val="e7711266-1164-48b7-9a56-c184eeea4eb8"/>
  <p:tag name="MIO_UPDATE" val="True"/>
  <p:tag name="MIO_VERSION" val="26.11.2021 10:04:27"/>
  <p:tag name="MIO_DBID" val="8236CE71-3243-41A3-904F-7EA9E80C736A"/>
  <p:tag name="MIO_LASTDOWNLOADED" val="28.02.2023 23:09:05.039"/>
  <p:tag name="MIO_OBJECTNAME" val="Arrow (2)"/>
  <p:tag name="MIO_LASTEDITORNAME" val="empower Brandin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a64719b-804d-43d4-ac8d-09ee6be3130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ffe2548-a46b-4498-877d-f369900e7e6b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238a665-d686-476e-a182-03e663ec6f99"/>
  <p:tag name="MIO_EKGUID" val="e7711266-1164-48b7-9a56-c184eeea4eb8"/>
  <p:tag name="MIO_UPDATE" val="True"/>
  <p:tag name="MIO_VERSION" val="26.11.2021 10:04:27"/>
  <p:tag name="MIO_DBID" val="8236CE71-3243-41A3-904F-7EA9E80C736A"/>
  <p:tag name="MIO_LASTDOWNLOADED" val="28.02.2023 23:09:03.638"/>
  <p:tag name="MIO_OBJECTNAME" val="Arrow (2)"/>
  <p:tag name="MIO_LASTEDITORNAME" val="empower Brandin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a64719b-804d-43d4-ac8d-09ee6be31305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ffe2548-a46b-4498-877d-f369900e7e6b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opyright;Bitte wählen Sie den Status dieser Präsentation aus"/>
  <p:tag name="MIO_USER_INPUT_OPTIONS" val="Vertraulich; 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HDS" val="True"/>
  <p:tag name="MIO_SKIPVERSION" val="01.01.0001 00:00:00"/>
  <p:tag name="MIO_EKGUID" val="b462a286-179c-464a-9ad9-b0d3902f5fe5"/>
  <p:tag name="MIO_UPDATE" val="True"/>
  <p:tag name="MIO_DBID" val="8236CE71-3243-41A3-904F-7EA9E80C736A"/>
  <p:tag name="MIO_OBJECTNAME" val="TRUMPF DE"/>
  <p:tag name="MIO_LASTEDITORNAME" val="Katharina Kampen"/>
  <p:tag name="MIO_FALLBACK_LAYOUT" val="9"/>
  <p:tag name="MIO_SHOW_DATE" val="True"/>
  <p:tag name="MIO_SHOW_FOOTER" val="True"/>
  <p:tag name="MIO_SHOW_PAGENUMBER" val="True"/>
  <p:tag name="MIO_AVOID_BLANK_LAYOUT" val="True"/>
  <p:tag name="MIO_CD_LAYOUT_VALID_AREA" val="False"/>
  <p:tag name="MIO_EMBED_FONT" val="False"/>
  <p:tag name="MIO_MATCH_COLOR_SCHEME" val="False"/>
  <p:tag name="MIO_NUMBER_OF_VALID_LAYOUTS" val="22"/>
  <p:tag name="MIO_VERSION" val="25.11.2021 16:14:12"/>
  <p:tag name="MIO_LASTDOWNLOADED" val="21.02.2023 10:51:26.909"/>
  <p:tag name="MIO_CDID" val="d30371fb-bd2b-4816-a0ce-bd6a1479ab6b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rumpf PowerPoint 2019">
  <a:themeElements>
    <a:clrScheme name="Trumpf dezent">
      <a:dk1>
        <a:srgbClr val="333333"/>
      </a:dk1>
      <a:lt1>
        <a:srgbClr val="FFFFFF"/>
      </a:lt1>
      <a:dk2>
        <a:srgbClr val="285172"/>
      </a:dk2>
      <a:lt2>
        <a:srgbClr val="FFFFFF"/>
      </a:lt2>
      <a:accent1>
        <a:srgbClr val="575757"/>
      </a:accent1>
      <a:accent2>
        <a:srgbClr val="D0D0D0"/>
      </a:accent2>
      <a:accent3>
        <a:srgbClr val="285172"/>
      </a:accent3>
      <a:accent4>
        <a:srgbClr val="8094AF"/>
      </a:accent4>
      <a:accent5>
        <a:srgbClr val="BBD03A"/>
      </a:accent5>
      <a:accent6>
        <a:srgbClr val="6C955E"/>
      </a:accent6>
      <a:hlink>
        <a:srgbClr val="204461"/>
      </a:hlink>
      <a:folHlink>
        <a:srgbClr val="638EBD"/>
      </a:folHlink>
    </a:clrScheme>
    <a:fontScheme name="Benutzerdefiniert 1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lIns="72000" tIns="72000" rIns="72000" bIns="72000" rtlCol="0" anchor="ctr"/>
      <a:lstStyle>
        <a:defPPr algn="ctr">
          <a:defRPr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>
              <a:lumMod val="60000"/>
              <a:lumOff val="4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" id="{D746A209-D3A0-42EF-988A-4829135B642B}" vid="{7DF3D1B1-4C56-472B-9565-3D7A511C20EB}"/>
    </a:ext>
  </a:extLst>
</a:theme>
</file>

<file path=ppt/theme/theme2.xml><?xml version="1.0" encoding="utf-8"?>
<a:theme xmlns:a="http://schemas.openxmlformats.org/drawingml/2006/main" name="Office">
  <a:themeElements>
    <a:clrScheme name="Trumpf">
      <a:dk1>
        <a:srgbClr val="333333"/>
      </a:dk1>
      <a:lt1>
        <a:srgbClr val="FFFFFF"/>
      </a:lt1>
      <a:dk2>
        <a:srgbClr val="204461"/>
      </a:dk2>
      <a:lt2>
        <a:srgbClr val="FFFFFF"/>
      </a:lt2>
      <a:accent1>
        <a:srgbClr val="707070"/>
      </a:accent1>
      <a:accent2>
        <a:srgbClr val="D0D0D0"/>
      </a:accent2>
      <a:accent3>
        <a:srgbClr val="204461"/>
      </a:accent3>
      <a:accent4>
        <a:srgbClr val="638EBD"/>
      </a:accent4>
      <a:accent5>
        <a:srgbClr val="93C11C"/>
      </a:accent5>
      <a:accent6>
        <a:srgbClr val="6C955E"/>
      </a:accent6>
      <a:hlink>
        <a:srgbClr val="204461"/>
      </a:hlink>
      <a:folHlink>
        <a:srgbClr val="638EBD"/>
      </a:folHlink>
    </a:clrScheme>
    <a:fontScheme name="Benutzerdefiniert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Trumpf">
      <a:dk1>
        <a:srgbClr val="333333"/>
      </a:dk1>
      <a:lt1>
        <a:srgbClr val="FFFFFF"/>
      </a:lt1>
      <a:dk2>
        <a:srgbClr val="204461"/>
      </a:dk2>
      <a:lt2>
        <a:srgbClr val="FFFFFF"/>
      </a:lt2>
      <a:accent1>
        <a:srgbClr val="707070"/>
      </a:accent1>
      <a:accent2>
        <a:srgbClr val="D0D0D0"/>
      </a:accent2>
      <a:accent3>
        <a:srgbClr val="204461"/>
      </a:accent3>
      <a:accent4>
        <a:srgbClr val="638EBD"/>
      </a:accent4>
      <a:accent5>
        <a:srgbClr val="93C11C"/>
      </a:accent5>
      <a:accent6>
        <a:srgbClr val="6C955E"/>
      </a:accent6>
      <a:hlink>
        <a:srgbClr val="204461"/>
      </a:hlink>
      <a:folHlink>
        <a:srgbClr val="638EBD"/>
      </a:folHlink>
    </a:clrScheme>
    <a:fontScheme name="Benutzerdefiniert 16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75DC99EB5B522442BFB271BE36A4F819" ma:contentTypeVersion="17" ma:contentTypeDescription="Ein neues Dokument erstellen." ma:contentTypeScope="" ma:versionID="a70fb71c8d03ff12ade853dbdbf2954b">
  <xsd:schema xmlns:xsd="http://www.w3.org/2001/XMLSchema" xmlns:xs="http://www.w3.org/2001/XMLSchema" xmlns:p="http://schemas.microsoft.com/office/2006/metadata/properties" xmlns:ns2="46a56ff4-038c-43a1-8198-66df79d5b4f2" xmlns:ns3="acc70353-449a-458c-af38-81fd801b6559" targetNamespace="http://schemas.microsoft.com/office/2006/metadata/properties" ma:root="true" ma:fieldsID="3065265883915d1102bea8f7b0131355" ns2:_="" ns3:_="">
    <xsd:import namespace="46a56ff4-038c-43a1-8198-66df79d5b4f2"/>
    <xsd:import namespace="acc70353-449a-458c-af38-81fd801b65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LengthInSeconds" minOccurs="0"/>
                <xsd:element ref="ns2:Uhrzeit" minOccurs="0"/>
                <xsd:element ref="ns2:MediaServiceLocation" minOccurs="0"/>
                <xsd:element ref="ns2:lcf76f155ced4ddcb4097134ff3c332f" minOccurs="0"/>
                <xsd:element ref="ns3:TaxCatchAll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6a56ff4-038c-43a1-8198-66df79d5b4f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7" nillable="true" ma:displayName="Length (seconds)" ma:internalName="MediaLengthInSeconds" ma:readOnly="true">
      <xsd:simpleType>
        <xsd:restriction base="dms:Unknown"/>
      </xsd:simpleType>
    </xsd:element>
    <xsd:element name="Uhrzeit" ma:index="18" nillable="true" ma:displayName="Uhrzeit" ma:format="DateOnly" ma:internalName="Uhrzeit">
      <xsd:simpleType>
        <xsd:restriction base="dms:DateTime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1" nillable="true" ma:taxonomy="true" ma:internalName="lcf76f155ced4ddcb4097134ff3c332f" ma:taxonomyFieldName="MediaServiceImageTags" ma:displayName="Bildmarkierungen" ma:readOnly="false" ma:fieldId="{5cf76f15-5ced-4ddc-b409-7134ff3c332f}" ma:taxonomyMulti="true" ma:sspId="5e9485e2-df4f-4880-8a81-872be8114f5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AutoKeyPoints" ma:index="2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cc70353-449a-458c-af38-81fd801b6559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232400c1-fff9-468c-bdef-2fcd72bfa8a4}" ma:internalName="TaxCatchAll" ma:showField="CatchAllData" ma:web="acc70353-449a-458c-af38-81fd801b65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acc70353-449a-458c-af38-81fd801b6559" xsi:nil="true"/>
    <lcf76f155ced4ddcb4097134ff3c332f xmlns="46a56ff4-038c-43a1-8198-66df79d5b4f2">
      <Terms xmlns="http://schemas.microsoft.com/office/infopath/2007/PartnerControls"/>
    </lcf76f155ced4ddcb4097134ff3c332f>
    <Uhrzeit xmlns="46a56ff4-038c-43a1-8198-66df79d5b4f2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99BFEE3-16B2-4A81-B169-A7983E93F80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6a56ff4-038c-43a1-8198-66df79d5b4f2"/>
    <ds:schemaRef ds:uri="acc70353-449a-458c-af38-81fd801b655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489BD21C-4072-4371-9710-CA4FDCF14B17}">
  <ds:schemaRefs>
    <ds:schemaRef ds:uri="http://schemas.microsoft.com/office/2006/metadata/properties"/>
    <ds:schemaRef ds:uri="http://schemas.microsoft.com/office/infopath/2007/PartnerControls"/>
    <ds:schemaRef ds:uri="acc70353-449a-458c-af38-81fd801b6559"/>
    <ds:schemaRef ds:uri="46a56ff4-038c-43a1-8198-66df79d5b4f2"/>
  </ds:schemaRefs>
</ds:datastoreItem>
</file>

<file path=customXml/itemProps3.xml><?xml version="1.0" encoding="utf-8"?>
<ds:datastoreItem xmlns:ds="http://schemas.openxmlformats.org/officeDocument/2006/customXml" ds:itemID="{5D534D4C-50E2-481A-9564-4222ED1E638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1902_Trumpf-Master_Dada_v9_Neues-Raster</Template>
  <TotalTime>0</TotalTime>
  <Words>820</Words>
  <Application>Microsoft Office PowerPoint</Application>
  <PresentationFormat>Breitbild</PresentationFormat>
  <Paragraphs>194</Paragraphs>
  <Slides>8</Slides>
  <Notes>8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8</vt:i4>
      </vt:variant>
    </vt:vector>
  </HeadingPairs>
  <TitlesOfParts>
    <vt:vector size="9" baseType="lpstr">
      <vt:lpstr>Trumpf PowerPoint 2019</vt:lpstr>
      <vt:lpstr>Eine Fabrik mit Zukunft - TRUMPF Klimastrategie</vt:lpstr>
      <vt:lpstr>TRUMPF Klimastrategie</vt:lpstr>
      <vt:lpstr>Schritt 1 – CO2-Emissionen bilanzieren</vt:lpstr>
      <vt:lpstr>Schritt 2 - Strategie + Ziele entwickeln </vt:lpstr>
      <vt:lpstr>Schritt 3 - Umsetzen</vt:lpstr>
      <vt:lpstr>Schritt 3 - Umsetze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Überschrift in zwei Zeilen</dc:title>
  <dc:creator>Katharina Kampen</dc:creator>
  <cp:lastModifiedBy>Hartlieb, Susanne</cp:lastModifiedBy>
  <cp:revision>65</cp:revision>
  <cp:lastPrinted>2019-01-11T14:04:50Z</cp:lastPrinted>
  <dcterms:created xsi:type="dcterms:W3CDTF">2019-04-11T08:14:40Z</dcterms:created>
  <dcterms:modified xsi:type="dcterms:W3CDTF">2023-04-24T09:08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5DC99EB5B522442BFB271BE36A4F819</vt:lpwstr>
  </property>
  <property fmtid="{D5CDD505-2E9C-101B-9397-08002B2CF9AE}" pid="3" name="MediaServiceImageTags">
    <vt:lpwstr/>
  </property>
</Properties>
</file>